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297" r:id="rId5"/>
    <p:sldId id="321" r:id="rId6"/>
    <p:sldId id="2188" r:id="rId7"/>
    <p:sldId id="320" r:id="rId8"/>
    <p:sldId id="2190" r:id="rId9"/>
    <p:sldId id="509" r:id="rId10"/>
    <p:sldId id="2186" r:id="rId11"/>
    <p:sldId id="2209" r:id="rId12"/>
    <p:sldId id="2196" r:id="rId13"/>
    <p:sldId id="2201" r:id="rId14"/>
    <p:sldId id="2208" r:id="rId15"/>
    <p:sldId id="2197" r:id="rId16"/>
    <p:sldId id="2202" r:id="rId17"/>
    <p:sldId id="2207" r:id="rId18"/>
    <p:sldId id="2198" r:id="rId19"/>
    <p:sldId id="2203" r:id="rId20"/>
    <p:sldId id="2206" r:id="rId21"/>
    <p:sldId id="2199" r:id="rId22"/>
    <p:sldId id="2204" r:id="rId23"/>
    <p:sldId id="284" r:id="rId24"/>
    <p:sldId id="2200" r:id="rId25"/>
    <p:sldId id="2205" r:id="rId26"/>
    <p:sldId id="278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174EA46-EDE6-1182-8FD7-38562A92EEBB}" name="Simon Steenson" initials="SS" userId="S::s.steenson@nutrition.org.uk::5d091211-0632-4e08-8ba7-b6c525d6f94c" providerId="AD"/>
  <p188:author id="{02195D9F-6869-295B-93F1-A89F5C8E513B}" name="Guest User" initials="GU" userId="S::urn:spo:anon#90ce5c5aaf9463e09a5c7fc573f54d493c3e99d72cfb7d0f860fb8c822b1e273::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3B058"/>
    <a:srgbClr val="F6F6F6"/>
    <a:srgbClr val="F5F5F5"/>
    <a:srgbClr val="FDC92F"/>
    <a:srgbClr val="E538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56131E-8F07-4F28-9681-BE85A1436B9E}" v="31" dt="2022-06-10T12:07:56.362"/>
    <p1510:client id="{47B42CBC-E32E-4A1B-9F48-9A126CF0EAEE}" v="1" dt="2022-06-10T12:52:55.835"/>
    <p1510:client id="{683718B5-66A8-B7B8-D612-23FB8F72A6D0}" v="32" dt="2022-06-10T07:48:21.40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9487" autoAdjust="0"/>
  </p:normalViewPr>
  <p:slideViewPr>
    <p:cSldViewPr snapToGrid="0">
      <p:cViewPr varScale="1">
        <p:scale>
          <a:sx n="89" d="100"/>
          <a:sy n="89" d="100"/>
        </p:scale>
        <p:origin x="139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AD26FBC-82A4-41C1-D0DF-6FD1AEFB66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378971E-C6AA-2DDA-7FB8-6DC8D76D9BF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19E067-9AF8-4F5B-88F1-82F57F23229A}" type="datetimeFigureOut">
              <a:rPr lang="en-GB" smtClean="0"/>
              <a:t>10/06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E322EB-9A5B-1B39-E844-2BA6B0609EB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FD103A-F7AC-96E3-672E-EB3CBF3AA75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3AD124-6BE4-45D9-88FA-44AD9BE97B0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00652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54682F-F51F-AB45-987C-E929843F021D}" type="datetimeFigureOut">
              <a:rPr lang="en-US" smtClean="0"/>
              <a:t>6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66FF4A-AB65-7D45-A481-EBCF326403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8839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24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strike="sngStrike">
              <a:solidFill>
                <a:schemeClr val="bg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7052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2774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4176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Answers</a:t>
            </a:r>
          </a:p>
          <a:p>
            <a:r>
              <a:rPr lang="en-GB" dirty="0"/>
              <a:t>Image 1: Quinoa</a:t>
            </a:r>
          </a:p>
          <a:p>
            <a:r>
              <a:rPr lang="en-GB" dirty="0"/>
              <a:t>Image 2: Wholewheat biscuits</a:t>
            </a:r>
          </a:p>
          <a:p>
            <a:r>
              <a:rPr lang="en-GB" dirty="0"/>
              <a:t>Image 3: Oats</a:t>
            </a:r>
          </a:p>
          <a:p>
            <a:r>
              <a:rPr lang="en-GB" dirty="0"/>
              <a:t>Image 4: Brown rice</a:t>
            </a:r>
          </a:p>
          <a:p>
            <a:r>
              <a:rPr lang="en-GB" dirty="0"/>
              <a:t>Image 5: Wholemeal pitta or chapati</a:t>
            </a:r>
          </a:p>
          <a:p>
            <a:r>
              <a:rPr lang="en-GB" dirty="0"/>
              <a:t>Image 6: Wholewheat pas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8018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Answers</a:t>
            </a:r>
          </a:p>
          <a:p>
            <a:r>
              <a:rPr lang="en-GB"/>
              <a:t>Image 1: Frozen mixed vegetables</a:t>
            </a:r>
          </a:p>
          <a:p>
            <a:r>
              <a:rPr lang="en-GB"/>
              <a:t>Image 2: Broccoli </a:t>
            </a:r>
          </a:p>
          <a:p>
            <a:r>
              <a:rPr lang="en-GB"/>
              <a:t>Image 3: Frozen mixed berries</a:t>
            </a:r>
          </a:p>
          <a:p>
            <a:r>
              <a:rPr lang="en-GB"/>
              <a:t>Image 4: Canned pineapple in natural juice with no added sugar or syrup</a:t>
            </a:r>
          </a:p>
          <a:p>
            <a:r>
              <a:rPr lang="en-GB"/>
              <a:t>Image 5: Apple</a:t>
            </a:r>
          </a:p>
          <a:p>
            <a:r>
              <a:rPr lang="en-GB"/>
              <a:t>Image 6: Cauliflower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0890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Answers</a:t>
            </a:r>
          </a:p>
          <a:p>
            <a:r>
              <a:rPr lang="en-GB" dirty="0"/>
              <a:t>Image 1: Canned red kidney beans in water with no added salt</a:t>
            </a:r>
          </a:p>
          <a:p>
            <a:r>
              <a:rPr lang="en-GB" dirty="0"/>
              <a:t>Image 2: 100% peanut butter</a:t>
            </a:r>
          </a:p>
          <a:p>
            <a:r>
              <a:rPr lang="en-GB" dirty="0"/>
              <a:t>Image 3: Red lentils</a:t>
            </a:r>
          </a:p>
          <a:p>
            <a:r>
              <a:rPr lang="en-GB" dirty="0"/>
              <a:t>Image 4: Unsalted mixed nuts</a:t>
            </a:r>
          </a:p>
          <a:p>
            <a:r>
              <a:rPr lang="en-GB" dirty="0"/>
              <a:t>Image 5: Vegetarian mi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Image 6: Canned chickpeas in water with no added salt</a:t>
            </a:r>
          </a:p>
          <a:p>
            <a:endParaRPr lang="en-GB" dirty="0"/>
          </a:p>
          <a:p>
            <a:r>
              <a:rPr lang="en-GB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9257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Answers</a:t>
            </a:r>
          </a:p>
          <a:p>
            <a:r>
              <a:rPr lang="en-GB" dirty="0"/>
              <a:t>Image 1: Tap water (infused with cucumber and mint)</a:t>
            </a:r>
          </a:p>
          <a:p>
            <a:r>
              <a:rPr lang="en-GB" dirty="0"/>
              <a:t>Image 2: Tea</a:t>
            </a:r>
          </a:p>
          <a:p>
            <a:r>
              <a:rPr lang="en-GB" dirty="0"/>
              <a:t>Image 3: Unsweetened and calcium-fortified soya drink</a:t>
            </a:r>
          </a:p>
          <a:p>
            <a:r>
              <a:rPr lang="en-GB" dirty="0"/>
              <a:t>Image 4: Lower fat milk</a:t>
            </a:r>
          </a:p>
          <a:p>
            <a:r>
              <a:rPr lang="en-GB" dirty="0"/>
              <a:t>Image 5: Orange juice (150ml) </a:t>
            </a:r>
          </a:p>
          <a:p>
            <a:r>
              <a:rPr lang="en-GB" dirty="0"/>
              <a:t>Image 6: Mint tea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9911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Answers</a:t>
            </a:r>
          </a:p>
          <a:p>
            <a:r>
              <a:rPr lang="en-GB" dirty="0"/>
              <a:t>Image 1: Choose frozen</a:t>
            </a:r>
          </a:p>
          <a:p>
            <a:r>
              <a:rPr lang="en-GB" dirty="0"/>
              <a:t>Image 2: </a:t>
            </a:r>
            <a:r>
              <a:rPr lang="en-GB" b="0" i="0" u="none" strike="noStrike" dirty="0">
                <a:solidFill>
                  <a:srgbClr val="00B050"/>
                </a:solidFill>
                <a:effectLst/>
                <a:latin typeface="Arial" panose="020B0604020202020204" pitchFamily="34" charset="0"/>
              </a:rPr>
              <a:t>Store food in </a:t>
            </a:r>
            <a:r>
              <a:rPr lang="en-GB" b="0" i="0" u="none" strike="noStrike" dirty="0">
                <a:solidFill>
                  <a:srgbClr val="00B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ir-tight containers</a:t>
            </a:r>
            <a:endParaRPr lang="en-GB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b="0" dirty="0">
                <a:latin typeface="Arial" panose="020B0604020202020204" pitchFamily="34" charset="0"/>
                <a:cs typeface="Arial" panose="020B0604020202020204" pitchFamily="34" charset="0"/>
              </a:rPr>
              <a:t>Image 3: </a:t>
            </a:r>
            <a:r>
              <a:rPr lang="en-GB" b="0" i="0" dirty="0">
                <a:solidFill>
                  <a:srgbClr val="00B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reeze leftovers</a:t>
            </a:r>
            <a:endParaRPr lang="en-GB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b="0" dirty="0">
                <a:latin typeface="Arial" panose="020B0604020202020204" pitchFamily="34" charset="0"/>
                <a:cs typeface="Arial" panose="020B0604020202020204" pitchFamily="34" charset="0"/>
              </a:rPr>
              <a:t>Image 4: </a:t>
            </a:r>
            <a:r>
              <a:rPr lang="en-GB" b="0" i="0" u="none" strike="noStrike" dirty="0">
                <a:solidFill>
                  <a:srgbClr val="00B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t your fridge temperature to </a:t>
            </a:r>
            <a:r>
              <a:rPr lang="en-GB" sz="1200" b="0" i="0" u="none" strike="noStrike" dirty="0">
                <a:solidFill>
                  <a:srgbClr val="00B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0-5℃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​</a:t>
            </a: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b="0" dirty="0">
                <a:latin typeface="Arial" panose="020B0604020202020204" pitchFamily="34" charset="0"/>
                <a:cs typeface="Arial" panose="020B0604020202020204" pitchFamily="34" charset="0"/>
              </a:rPr>
              <a:t>Image 5: </a:t>
            </a:r>
            <a:r>
              <a:rPr lang="en-GB" b="0" i="0" dirty="0">
                <a:solidFill>
                  <a:srgbClr val="00B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lan your meals - create a shopping list</a:t>
            </a:r>
            <a:endParaRPr lang="en-GB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b="0" dirty="0">
                <a:latin typeface="Arial" panose="020B0604020202020204" pitchFamily="34" charset="0"/>
                <a:cs typeface="Arial" panose="020B0604020202020204" pitchFamily="34" charset="0"/>
              </a:rPr>
              <a:t>Image 6: Know your “best before” and “use by” dat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144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91C7F613-5B79-674E-8CAB-8F5D864B8D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043" y="3252721"/>
            <a:ext cx="12213536" cy="360527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9E35266-84C1-5644-A21D-EEB4AE06D375}"/>
              </a:ext>
            </a:extLst>
          </p:cNvPr>
          <p:cNvSpPr txBox="1"/>
          <p:nvPr userDrawn="1"/>
        </p:nvSpPr>
        <p:spPr>
          <a:xfrm>
            <a:off x="9540240" y="6571139"/>
            <a:ext cx="258064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7" name="Picture 6" descr="Logo&#10;&#10;Description automatically generated with medium confidence">
            <a:extLst>
              <a:ext uri="{FF2B5EF4-FFF2-40B4-BE49-F238E27FC236}">
                <a16:creationId xmlns:a16="http://schemas.microsoft.com/office/drawing/2014/main" id="{3CBB80CD-7D10-D649-B898-1A94566AE7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0960" y="280400"/>
            <a:ext cx="2783840" cy="86995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7884971-042A-8842-A5FE-6AC434B5DCF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146" y="858911"/>
            <a:ext cx="8235927" cy="1739433"/>
          </a:xfrm>
        </p:spPr>
        <p:txBody>
          <a:bodyPr anchor="b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GB"/>
              <a:t>Title </a:t>
            </a:r>
            <a:br>
              <a:rPr lang="en-GB"/>
            </a:br>
            <a:r>
              <a:rPr lang="en-GB"/>
              <a:t>slide 1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AD69F52-471A-AF48-82FB-76FC62444E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148" y="2871635"/>
            <a:ext cx="8235926" cy="557365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-title, if needed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798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  <p15:guide id="2" pos="32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divider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04B40599-B26E-234A-B113-BE7AECCA87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90799"/>
            <a:ext cx="12192000" cy="643155"/>
          </a:xfr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Divider: Pink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C3358C-CFBA-594F-9642-86C913598C4F}"/>
              </a:ext>
            </a:extLst>
          </p:cNvPr>
          <p:cNvSpPr txBox="1"/>
          <p:nvPr userDrawn="1"/>
        </p:nvSpPr>
        <p:spPr>
          <a:xfrm>
            <a:off x="132079" y="6553273"/>
            <a:ext cx="3271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 sz="100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603A102-005B-A642-8126-E5C93FF430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5486" y="6047718"/>
            <a:ext cx="643155" cy="64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4035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9CB8AE5-F581-1548-82EF-6DEBC30236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035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FEAB991-7420-4B4E-9529-11ABD2338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1" y="703384"/>
            <a:ext cx="10589793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C598F20-CF77-594C-B8EF-91FDE3724D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1" y="1833280"/>
            <a:ext cx="10589794" cy="3892146"/>
          </a:xfrm>
        </p:spPr>
        <p:txBody>
          <a:bodyPr>
            <a:normAutofit/>
          </a:bodyPr>
          <a:lstStyle>
            <a:lvl1pPr marL="0" marR="0" indent="-11113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sunt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  <a:p>
            <a:pPr marL="0" marR="0" lvl="0" indent="-11113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sunt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  <a:p>
            <a:pPr marL="0" marR="0" lvl="0" indent="-11113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CB09A7F-5ABE-5C48-ACCB-9C236D2232FE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7" name="Picture 6" descr="Application&#10;&#10;Description automatically generated">
            <a:extLst>
              <a:ext uri="{FF2B5EF4-FFF2-40B4-BE49-F238E27FC236}">
                <a16:creationId xmlns:a16="http://schemas.microsoft.com/office/drawing/2014/main" id="{CECD74EF-DA4A-9446-6978-EE4F7EB0C1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881364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9CB8AE5-F581-1548-82EF-6DEBC30236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159" y="-1"/>
            <a:ext cx="12192000" cy="687035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FEAB991-7420-4B4E-9529-11ABD2338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1" y="703384"/>
            <a:ext cx="10589793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C598F20-CF77-594C-B8EF-91FDE3724D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1" y="2262470"/>
            <a:ext cx="10589794" cy="3892146"/>
          </a:xfrm>
        </p:spPr>
        <p:txBody>
          <a:bodyPr>
            <a:normAutofit/>
          </a:bodyPr>
          <a:lstStyle>
            <a:lvl1pPr marL="0" marR="0" indent="-11113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sunt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  <a:p>
            <a:pPr marL="0" marR="0" lvl="0" indent="-11113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sunt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  <a:p>
            <a:pPr marL="0" marR="0" lvl="0" indent="-11113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97E3206-C3B6-1A44-AA3D-E2BC0EA729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8891" y="1640932"/>
            <a:ext cx="10589793" cy="375651"/>
          </a:xfrm>
        </p:spPr>
        <p:txBody>
          <a:bodyPr/>
          <a:lstStyle>
            <a:lvl1pPr marL="11113" indent="-11113">
              <a:buNone/>
              <a:tabLst/>
              <a:defRPr sz="2000" b="1"/>
            </a:lvl1pPr>
          </a:lstStyle>
          <a:p>
            <a:pPr lvl="0"/>
            <a:r>
              <a:rPr lang="en-GB"/>
              <a:t>Subhead</a:t>
            </a:r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CB09A7F-5ABE-5C48-ACCB-9C236D2232FE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13" name="Picture 12" descr="Application&#10;&#10;Description automatically generated">
            <a:extLst>
              <a:ext uri="{FF2B5EF4-FFF2-40B4-BE49-F238E27FC236}">
                <a16:creationId xmlns:a16="http://schemas.microsoft.com/office/drawing/2014/main" id="{F75C5016-4278-8664-B7EC-A4065B8501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245355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DFA835BA-20C5-DA4B-8518-72E783AD0B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159" y="-1"/>
            <a:ext cx="12192000" cy="687035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FEAB991-7420-4B4E-9529-11ABD2338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01070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DACC9805-01DC-7F49-A819-B4690A2FA32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8892" y="1834018"/>
            <a:ext cx="4771444" cy="4285427"/>
          </a:xfrm>
        </p:spPr>
        <p:txBody>
          <a:bodyPr/>
          <a:lstStyle>
            <a:lvl1pPr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4E5D589-72E0-BD4A-9A78-F78AE9ABE9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27A242-6236-0341-B7C7-7CE47CB8EF63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10" name="Picture 9" descr="Application&#10;&#10;Description automatically generated">
            <a:extLst>
              <a:ext uri="{FF2B5EF4-FFF2-40B4-BE49-F238E27FC236}">
                <a16:creationId xmlns:a16="http://schemas.microsoft.com/office/drawing/2014/main" id="{7066A3DB-B129-5297-AB77-4EC8577B74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396316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E0FEC7D7-9264-BA40-ADD8-F31B313999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035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FEAB991-7420-4B4E-9529-11ABD2338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DACC9805-01DC-7F49-A819-B4690A2FA32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70656" y="1834018"/>
            <a:ext cx="4771444" cy="4285427"/>
          </a:xfrm>
        </p:spPr>
        <p:txBody>
          <a:bodyPr/>
          <a:lstStyle>
            <a:lvl1pPr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4E5D589-72E0-BD4A-9A78-F78AE9ABE9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723995-8BFF-E840-BA7D-570C8FF42DE8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10" name="Picture 9" descr="Application&#10;&#10;Description automatically generated">
            <a:extLst>
              <a:ext uri="{FF2B5EF4-FFF2-40B4-BE49-F238E27FC236}">
                <a16:creationId xmlns:a16="http://schemas.microsoft.com/office/drawing/2014/main" id="{3062F0B8-540A-36D1-4727-6E7BB2766D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4326255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+ image righ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E0FEC7D7-9264-BA40-ADD8-F31B313999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035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FEAB991-7420-4B4E-9529-11ABD2338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DACC9805-01DC-7F49-A819-B4690A2FA32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70656" y="1879635"/>
            <a:ext cx="4771444" cy="3962365"/>
          </a:xfrm>
          <a:ln w="190500" cap="sq">
            <a:solidFill>
              <a:schemeClr val="accent1"/>
            </a:solidFill>
            <a:miter lim="800000"/>
          </a:ln>
        </p:spPr>
        <p:txBody>
          <a:bodyPr/>
          <a:lstStyle>
            <a:lvl1pPr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4E5D589-72E0-BD4A-9A78-F78AE9ABE9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00F710F-5606-7646-A322-512C2DF26FF5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8" name="Picture 7" descr="Application&#10;&#10;Description automatically generated">
            <a:extLst>
              <a:ext uri="{FF2B5EF4-FFF2-40B4-BE49-F238E27FC236}">
                <a16:creationId xmlns:a16="http://schemas.microsoft.com/office/drawing/2014/main" id="{DA57C082-70B2-8F67-ED1B-9BF5D250EA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4726777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+ content + image right gre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E47FCD96-9DEF-DE43-BA7E-C3EA2FA521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035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FEAB991-7420-4B4E-9529-11ABD2338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DACC9805-01DC-7F49-A819-B4690A2FA32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70656" y="1905361"/>
            <a:ext cx="4771444" cy="3987439"/>
          </a:xfrm>
          <a:ln w="190500" cap="sq">
            <a:solidFill>
              <a:srgbClr val="F6F6F6"/>
            </a:solidFill>
            <a:miter lim="800000"/>
          </a:ln>
        </p:spPr>
        <p:txBody>
          <a:bodyPr/>
          <a:lstStyle>
            <a:lvl1pPr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4E5D589-72E0-BD4A-9A78-F78AE9ABE9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A68431-98DC-F74F-AD3C-93A76AF496B4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9" name="Picture 8" descr="Application&#10;&#10;Description automatically generated">
            <a:extLst>
              <a:ext uri="{FF2B5EF4-FFF2-40B4-BE49-F238E27FC236}">
                <a16:creationId xmlns:a16="http://schemas.microsoft.com/office/drawing/2014/main" id="{08155C08-5368-E5B0-ABD8-C1BB99C7F5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9007041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ular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18FA1AB0-DE6E-8A41-BDC7-E4CBA48F7A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159" y="-1"/>
            <a:ext cx="12192000" cy="6870357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AAD4FA7-47A2-A845-AFB6-2F5B7E4EFB4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88482" y="1834018"/>
            <a:ext cx="4294064" cy="4285427"/>
          </a:xfrm>
          <a:custGeom>
            <a:avLst/>
            <a:gdLst>
              <a:gd name="connsiteX0" fmla="*/ 2147032 w 4294064"/>
              <a:gd name="connsiteY0" fmla="*/ 0 h 4285427"/>
              <a:gd name="connsiteX1" fmla="*/ 4294064 w 4294064"/>
              <a:gd name="connsiteY1" fmla="*/ 2147032 h 4285427"/>
              <a:gd name="connsiteX2" fmla="*/ 2366554 w 4294064"/>
              <a:gd name="connsiteY2" fmla="*/ 4282979 h 4285427"/>
              <a:gd name="connsiteX3" fmla="*/ 2318076 w 4294064"/>
              <a:gd name="connsiteY3" fmla="*/ 4285427 h 4285427"/>
              <a:gd name="connsiteX4" fmla="*/ 1975989 w 4294064"/>
              <a:gd name="connsiteY4" fmla="*/ 4285427 h 4285427"/>
              <a:gd name="connsiteX5" fmla="*/ 1927510 w 4294064"/>
              <a:gd name="connsiteY5" fmla="*/ 4282979 h 4285427"/>
              <a:gd name="connsiteX6" fmla="*/ 0 w 4294064"/>
              <a:gd name="connsiteY6" fmla="*/ 2147032 h 4285427"/>
              <a:gd name="connsiteX7" fmla="*/ 2147032 w 4294064"/>
              <a:gd name="connsiteY7" fmla="*/ 0 h 4285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4064" h="4285427">
                <a:moveTo>
                  <a:pt x="2147032" y="0"/>
                </a:moveTo>
                <a:cubicBezTo>
                  <a:pt x="3332805" y="0"/>
                  <a:pt x="4294064" y="961259"/>
                  <a:pt x="4294064" y="2147032"/>
                </a:cubicBezTo>
                <a:cubicBezTo>
                  <a:pt x="4294064" y="3258694"/>
                  <a:pt x="3449207" y="4173030"/>
                  <a:pt x="2366554" y="4282979"/>
                </a:cubicBezTo>
                <a:lnTo>
                  <a:pt x="2318076" y="4285427"/>
                </a:lnTo>
                <a:lnTo>
                  <a:pt x="1975989" y="4285427"/>
                </a:lnTo>
                <a:lnTo>
                  <a:pt x="1927510" y="4282979"/>
                </a:lnTo>
                <a:cubicBezTo>
                  <a:pt x="844857" y="4173030"/>
                  <a:pt x="0" y="3258694"/>
                  <a:pt x="0" y="2147032"/>
                </a:cubicBezTo>
                <a:cubicBezTo>
                  <a:pt x="0" y="961259"/>
                  <a:pt x="961259" y="0"/>
                  <a:pt x="2147032" y="0"/>
                </a:cubicBezTo>
                <a:close/>
              </a:path>
            </a:pathLst>
          </a:custGeom>
          <a:ln w="190500">
            <a:noFill/>
          </a:ln>
        </p:spPr>
        <p:txBody>
          <a:bodyPr wrap="square">
            <a:noAutofit/>
          </a:bodyPr>
          <a:lstStyle>
            <a:lvl1pPr marL="11113" indent="-11113" algn="ctr">
              <a:buNone/>
              <a:tabLst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CFA5C25-ADFE-0D4F-9B70-A516087F663B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9D611DF-85CD-6E49-B337-A5250CB1AF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D37E584-C520-4E4D-B02C-C269E530C1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pic>
        <p:nvPicPr>
          <p:cNvPr id="9" name="Picture 8" descr="Application&#10;&#10;Description automatically generated">
            <a:extLst>
              <a:ext uri="{FF2B5EF4-FFF2-40B4-BE49-F238E27FC236}">
                <a16:creationId xmlns:a16="http://schemas.microsoft.com/office/drawing/2014/main" id="{6852F5BB-1911-9AC2-98B3-653DDD7D56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216286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rcular pic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18FA1AB0-DE6E-8A41-BDC7-E4CBA48F7A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159" y="-1"/>
            <a:ext cx="12192000" cy="6870357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AAD4FA7-47A2-A845-AFB6-2F5B7E4EFB4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88482" y="1834018"/>
            <a:ext cx="4294064" cy="4285427"/>
          </a:xfrm>
          <a:custGeom>
            <a:avLst/>
            <a:gdLst>
              <a:gd name="connsiteX0" fmla="*/ 2147032 w 4294064"/>
              <a:gd name="connsiteY0" fmla="*/ 0 h 4285427"/>
              <a:gd name="connsiteX1" fmla="*/ 4294064 w 4294064"/>
              <a:gd name="connsiteY1" fmla="*/ 2147032 h 4285427"/>
              <a:gd name="connsiteX2" fmla="*/ 2366554 w 4294064"/>
              <a:gd name="connsiteY2" fmla="*/ 4282979 h 4285427"/>
              <a:gd name="connsiteX3" fmla="*/ 2318076 w 4294064"/>
              <a:gd name="connsiteY3" fmla="*/ 4285427 h 4285427"/>
              <a:gd name="connsiteX4" fmla="*/ 1975989 w 4294064"/>
              <a:gd name="connsiteY4" fmla="*/ 4285427 h 4285427"/>
              <a:gd name="connsiteX5" fmla="*/ 1927510 w 4294064"/>
              <a:gd name="connsiteY5" fmla="*/ 4282979 h 4285427"/>
              <a:gd name="connsiteX6" fmla="*/ 0 w 4294064"/>
              <a:gd name="connsiteY6" fmla="*/ 2147032 h 4285427"/>
              <a:gd name="connsiteX7" fmla="*/ 2147032 w 4294064"/>
              <a:gd name="connsiteY7" fmla="*/ 0 h 4285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4064" h="4285427">
                <a:moveTo>
                  <a:pt x="2147032" y="0"/>
                </a:moveTo>
                <a:cubicBezTo>
                  <a:pt x="3332805" y="0"/>
                  <a:pt x="4294064" y="961259"/>
                  <a:pt x="4294064" y="2147032"/>
                </a:cubicBezTo>
                <a:cubicBezTo>
                  <a:pt x="4294064" y="3258694"/>
                  <a:pt x="3449207" y="4173030"/>
                  <a:pt x="2366554" y="4282979"/>
                </a:cubicBezTo>
                <a:lnTo>
                  <a:pt x="2318076" y="4285427"/>
                </a:lnTo>
                <a:lnTo>
                  <a:pt x="1975989" y="4285427"/>
                </a:lnTo>
                <a:lnTo>
                  <a:pt x="1927510" y="4282979"/>
                </a:lnTo>
                <a:cubicBezTo>
                  <a:pt x="844857" y="4173030"/>
                  <a:pt x="0" y="3258694"/>
                  <a:pt x="0" y="2147032"/>
                </a:cubicBezTo>
                <a:cubicBezTo>
                  <a:pt x="0" y="961259"/>
                  <a:pt x="961259" y="0"/>
                  <a:pt x="2147032" y="0"/>
                </a:cubicBezTo>
                <a:close/>
              </a:path>
            </a:pathLst>
          </a:custGeom>
          <a:ln w="190500"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marL="11113" indent="-11113" algn="ctr">
              <a:buNone/>
              <a:tabLst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57BAF6F-BDE8-424A-BFCD-5AE8C7FCB1BB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8869670A-24AC-684F-A8D4-0038316B22E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7710" y="6057546"/>
            <a:ext cx="643155" cy="643155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5C53BA8-D198-1F41-8A67-8D3E591EA5A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494D0B1-5AAE-6C48-92C2-DB80568AFF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7235029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ircular pic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AAD4FA7-47A2-A845-AFB6-2F5B7E4EFB4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88482" y="1834018"/>
            <a:ext cx="4294064" cy="4285427"/>
          </a:xfrm>
          <a:custGeom>
            <a:avLst/>
            <a:gdLst>
              <a:gd name="connsiteX0" fmla="*/ 2147032 w 4294064"/>
              <a:gd name="connsiteY0" fmla="*/ 0 h 4285427"/>
              <a:gd name="connsiteX1" fmla="*/ 4294064 w 4294064"/>
              <a:gd name="connsiteY1" fmla="*/ 2147032 h 4285427"/>
              <a:gd name="connsiteX2" fmla="*/ 2366554 w 4294064"/>
              <a:gd name="connsiteY2" fmla="*/ 4282979 h 4285427"/>
              <a:gd name="connsiteX3" fmla="*/ 2318076 w 4294064"/>
              <a:gd name="connsiteY3" fmla="*/ 4285427 h 4285427"/>
              <a:gd name="connsiteX4" fmla="*/ 1975989 w 4294064"/>
              <a:gd name="connsiteY4" fmla="*/ 4285427 h 4285427"/>
              <a:gd name="connsiteX5" fmla="*/ 1927510 w 4294064"/>
              <a:gd name="connsiteY5" fmla="*/ 4282979 h 4285427"/>
              <a:gd name="connsiteX6" fmla="*/ 0 w 4294064"/>
              <a:gd name="connsiteY6" fmla="*/ 2147032 h 4285427"/>
              <a:gd name="connsiteX7" fmla="*/ 2147032 w 4294064"/>
              <a:gd name="connsiteY7" fmla="*/ 0 h 4285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4064" h="4285427">
                <a:moveTo>
                  <a:pt x="2147032" y="0"/>
                </a:moveTo>
                <a:cubicBezTo>
                  <a:pt x="3332805" y="0"/>
                  <a:pt x="4294064" y="961259"/>
                  <a:pt x="4294064" y="2147032"/>
                </a:cubicBezTo>
                <a:cubicBezTo>
                  <a:pt x="4294064" y="3258694"/>
                  <a:pt x="3449207" y="4173030"/>
                  <a:pt x="2366554" y="4282979"/>
                </a:cubicBezTo>
                <a:lnTo>
                  <a:pt x="2318076" y="4285427"/>
                </a:lnTo>
                <a:lnTo>
                  <a:pt x="1975989" y="4285427"/>
                </a:lnTo>
                <a:lnTo>
                  <a:pt x="1927510" y="4282979"/>
                </a:lnTo>
                <a:cubicBezTo>
                  <a:pt x="844857" y="4173030"/>
                  <a:pt x="0" y="3258694"/>
                  <a:pt x="0" y="2147032"/>
                </a:cubicBezTo>
                <a:cubicBezTo>
                  <a:pt x="0" y="961259"/>
                  <a:pt x="961259" y="0"/>
                  <a:pt x="2147032" y="0"/>
                </a:cubicBezTo>
                <a:close/>
              </a:path>
            </a:pathLst>
          </a:custGeom>
          <a:ln w="215900">
            <a:solidFill>
              <a:srgbClr val="F5F5F5"/>
            </a:solidFill>
          </a:ln>
        </p:spPr>
        <p:txBody>
          <a:bodyPr wrap="square">
            <a:noAutofit/>
          </a:bodyPr>
          <a:lstStyle>
            <a:lvl1pPr marL="11113" indent="-11113" algn="ctr">
              <a:buNone/>
              <a:tabLst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715D3D-5C55-EF45-8531-8B14A9750D09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F2EA6210-B64A-0243-B2E4-6166391F74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7710" y="6057546"/>
            <a:ext cx="643155" cy="643155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082B3DA0-339D-3444-B01F-1174339284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EC9E70D-1379-3B4C-96FA-964C6C0666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37735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BC76CB4F-648F-CD48-B7D2-4F2F7BF1E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70357"/>
          </a:xfrm>
          <a:prstGeom prst="rect">
            <a:avLst/>
          </a:prstGeom>
        </p:spPr>
      </p:pic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64313CC4-3183-4549-8567-8ED92738F2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7339653" y="2035963"/>
            <a:ext cx="6864627" cy="28448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8810A1B-9991-D644-B0FB-D05D6A589A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146" y="858911"/>
            <a:ext cx="8829420" cy="1739433"/>
          </a:xfrm>
        </p:spPr>
        <p:txBody>
          <a:bodyPr anchor="b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GB"/>
              <a:t>Title </a:t>
            </a:r>
            <a:br>
              <a:rPr lang="en-GB"/>
            </a:br>
            <a:r>
              <a:rPr lang="en-GB"/>
              <a:t>slide</a:t>
            </a:r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3335796-8577-6A4F-8D57-F60569700A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147" y="2871635"/>
            <a:ext cx="8829419" cy="106314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-title, if needed 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A3A49B-7239-384B-A3B0-8600CA8D6427}"/>
              </a:ext>
            </a:extLst>
          </p:cNvPr>
          <p:cNvSpPr txBox="1"/>
          <p:nvPr userDrawn="1"/>
        </p:nvSpPr>
        <p:spPr>
          <a:xfrm>
            <a:off x="9540240" y="6571139"/>
            <a:ext cx="258064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9" name="Picture 8" descr="Application&#10;&#10;Description automatically generated">
            <a:extLst>
              <a:ext uri="{FF2B5EF4-FFF2-40B4-BE49-F238E27FC236}">
                <a16:creationId xmlns:a16="http://schemas.microsoft.com/office/drawing/2014/main" id="{9B49D4CF-4531-95DC-11AB-B88C6630F2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0505" y="5190422"/>
            <a:ext cx="2154688" cy="126554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582071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  <p15:guide id="2" pos="32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ircular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F6FA56D-706C-8D4C-8422-725431357A2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69937" y="1938969"/>
            <a:ext cx="4341915" cy="4016524"/>
          </a:xfrm>
          <a:custGeom>
            <a:avLst/>
            <a:gdLst>
              <a:gd name="connsiteX0" fmla="*/ 2081674 w 4002710"/>
              <a:gd name="connsiteY0" fmla="*/ 3645586 h 3645586"/>
              <a:gd name="connsiteX1" fmla="*/ 2001355 w 4002710"/>
              <a:gd name="connsiteY1" fmla="*/ 3641738 h 3645586"/>
              <a:gd name="connsiteX2" fmla="*/ 1921036 w 4002710"/>
              <a:gd name="connsiteY2" fmla="*/ 3645586 h 3645586"/>
              <a:gd name="connsiteX3" fmla="*/ 0 w 4002710"/>
              <a:gd name="connsiteY3" fmla="*/ 3645586 h 3645586"/>
              <a:gd name="connsiteX4" fmla="*/ 0 w 4002710"/>
              <a:gd name="connsiteY4" fmla="*/ 1822793 h 3645586"/>
              <a:gd name="connsiteX5" fmla="*/ 1921036 w 4002710"/>
              <a:gd name="connsiteY5" fmla="*/ 0 h 3645586"/>
              <a:gd name="connsiteX6" fmla="*/ 2001355 w 4002710"/>
              <a:gd name="connsiteY6" fmla="*/ 3849 h 3645586"/>
              <a:gd name="connsiteX7" fmla="*/ 2081674 w 4002710"/>
              <a:gd name="connsiteY7" fmla="*/ 0 h 3645586"/>
              <a:gd name="connsiteX8" fmla="*/ 4002710 w 4002710"/>
              <a:gd name="connsiteY8" fmla="*/ 0 h 3645586"/>
              <a:gd name="connsiteX9" fmla="*/ 4002710 w 4002710"/>
              <a:gd name="connsiteY9" fmla="*/ 1822793 h 3645586"/>
              <a:gd name="connsiteX10" fmla="*/ 2081674 w 4002710"/>
              <a:gd name="connsiteY10" fmla="*/ 3645586 h 3645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02710" h="3645586">
                <a:moveTo>
                  <a:pt x="2081674" y="3645586"/>
                </a:moveTo>
                <a:lnTo>
                  <a:pt x="2001355" y="3641738"/>
                </a:lnTo>
                <a:lnTo>
                  <a:pt x="1921036" y="3645586"/>
                </a:lnTo>
                <a:lnTo>
                  <a:pt x="0" y="3645586"/>
                </a:lnTo>
                <a:lnTo>
                  <a:pt x="0" y="1822793"/>
                </a:lnTo>
                <a:cubicBezTo>
                  <a:pt x="0" y="816092"/>
                  <a:pt x="860077" y="0"/>
                  <a:pt x="1921036" y="0"/>
                </a:cubicBezTo>
                <a:lnTo>
                  <a:pt x="2001355" y="3849"/>
                </a:lnTo>
                <a:lnTo>
                  <a:pt x="2081674" y="0"/>
                </a:lnTo>
                <a:lnTo>
                  <a:pt x="4002710" y="0"/>
                </a:lnTo>
                <a:lnTo>
                  <a:pt x="4002710" y="1822793"/>
                </a:lnTo>
                <a:cubicBezTo>
                  <a:pt x="4002710" y="2829494"/>
                  <a:pt x="3142633" y="3645586"/>
                  <a:pt x="2081674" y="3645586"/>
                </a:cubicBezTo>
                <a:close/>
              </a:path>
            </a:pathLst>
          </a:custGeom>
          <a:ln w="0">
            <a:solidFill>
              <a:srgbClr val="F5F5F5"/>
            </a:solidFill>
            <a:miter lim="800000"/>
          </a:ln>
        </p:spPr>
        <p:txBody>
          <a:bodyPr wrap="square">
            <a:noAutofit/>
          </a:bodyPr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8F02296-880B-F147-8804-3CB6DE81CA6A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EA46E459-BF6B-5744-8FF0-44226A143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7710" y="6057546"/>
            <a:ext cx="643155" cy="643155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8B08707-7DF8-1A48-8400-1670F60A835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B3632B6-CF32-0F40-8DF7-CF2D1667CE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7441087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ircular pic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18FA1AB0-DE6E-8A41-BDC7-E4CBA48F7A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159" y="-1"/>
            <a:ext cx="12192000" cy="6870357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08E9F13-4186-1441-99B0-F05129A3EE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69937" y="1938969"/>
            <a:ext cx="4341915" cy="4016524"/>
          </a:xfrm>
          <a:custGeom>
            <a:avLst/>
            <a:gdLst>
              <a:gd name="connsiteX0" fmla="*/ 2081674 w 4002710"/>
              <a:gd name="connsiteY0" fmla="*/ 3645586 h 3645586"/>
              <a:gd name="connsiteX1" fmla="*/ 2001355 w 4002710"/>
              <a:gd name="connsiteY1" fmla="*/ 3641738 h 3645586"/>
              <a:gd name="connsiteX2" fmla="*/ 1921036 w 4002710"/>
              <a:gd name="connsiteY2" fmla="*/ 3645586 h 3645586"/>
              <a:gd name="connsiteX3" fmla="*/ 0 w 4002710"/>
              <a:gd name="connsiteY3" fmla="*/ 3645586 h 3645586"/>
              <a:gd name="connsiteX4" fmla="*/ 0 w 4002710"/>
              <a:gd name="connsiteY4" fmla="*/ 1822793 h 3645586"/>
              <a:gd name="connsiteX5" fmla="*/ 1921036 w 4002710"/>
              <a:gd name="connsiteY5" fmla="*/ 0 h 3645586"/>
              <a:gd name="connsiteX6" fmla="*/ 2001355 w 4002710"/>
              <a:gd name="connsiteY6" fmla="*/ 3849 h 3645586"/>
              <a:gd name="connsiteX7" fmla="*/ 2081674 w 4002710"/>
              <a:gd name="connsiteY7" fmla="*/ 0 h 3645586"/>
              <a:gd name="connsiteX8" fmla="*/ 4002710 w 4002710"/>
              <a:gd name="connsiteY8" fmla="*/ 0 h 3645586"/>
              <a:gd name="connsiteX9" fmla="*/ 4002710 w 4002710"/>
              <a:gd name="connsiteY9" fmla="*/ 1822793 h 3645586"/>
              <a:gd name="connsiteX10" fmla="*/ 2081674 w 4002710"/>
              <a:gd name="connsiteY10" fmla="*/ 3645586 h 3645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02710" h="3645586">
                <a:moveTo>
                  <a:pt x="2081674" y="3645586"/>
                </a:moveTo>
                <a:lnTo>
                  <a:pt x="2001355" y="3641738"/>
                </a:lnTo>
                <a:lnTo>
                  <a:pt x="1921036" y="3645586"/>
                </a:lnTo>
                <a:lnTo>
                  <a:pt x="0" y="3645586"/>
                </a:lnTo>
                <a:lnTo>
                  <a:pt x="0" y="1822793"/>
                </a:lnTo>
                <a:cubicBezTo>
                  <a:pt x="0" y="816092"/>
                  <a:pt x="860077" y="0"/>
                  <a:pt x="1921036" y="0"/>
                </a:cubicBezTo>
                <a:lnTo>
                  <a:pt x="2001355" y="3849"/>
                </a:lnTo>
                <a:lnTo>
                  <a:pt x="2081674" y="0"/>
                </a:lnTo>
                <a:lnTo>
                  <a:pt x="4002710" y="0"/>
                </a:lnTo>
                <a:lnTo>
                  <a:pt x="4002710" y="1822793"/>
                </a:lnTo>
                <a:cubicBezTo>
                  <a:pt x="4002710" y="2829494"/>
                  <a:pt x="3142633" y="3645586"/>
                  <a:pt x="2081674" y="3645586"/>
                </a:cubicBezTo>
                <a:close/>
              </a:path>
            </a:pathLst>
          </a:custGeom>
          <a:ln w="215900">
            <a:solidFill>
              <a:srgbClr val="53B058"/>
            </a:solidFill>
            <a:miter lim="800000"/>
          </a:ln>
        </p:spPr>
        <p:txBody>
          <a:bodyPr wrap="square">
            <a:noAutofit/>
          </a:bodyPr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97FF6A-0F69-F94B-B2C1-43C897CABE2C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9B326CD-D89D-1F42-A6FE-E73612278C5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FB47E8-4F76-9E44-A277-AAA9A141F0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pic>
        <p:nvPicPr>
          <p:cNvPr id="8" name="Picture 7" descr="Application&#10;&#10;Description automatically generated">
            <a:extLst>
              <a:ext uri="{FF2B5EF4-FFF2-40B4-BE49-F238E27FC236}">
                <a16:creationId xmlns:a16="http://schemas.microsoft.com/office/drawing/2014/main" id="{9E4BFFE4-BCEF-EF80-6C41-A7D3198986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4310145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rcular pic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FC776B-FB98-664E-8161-25A520752A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69937" y="1938969"/>
            <a:ext cx="4341915" cy="4016524"/>
          </a:xfrm>
          <a:custGeom>
            <a:avLst/>
            <a:gdLst>
              <a:gd name="connsiteX0" fmla="*/ 2081674 w 4002710"/>
              <a:gd name="connsiteY0" fmla="*/ 3645586 h 3645586"/>
              <a:gd name="connsiteX1" fmla="*/ 2001355 w 4002710"/>
              <a:gd name="connsiteY1" fmla="*/ 3641738 h 3645586"/>
              <a:gd name="connsiteX2" fmla="*/ 1921036 w 4002710"/>
              <a:gd name="connsiteY2" fmla="*/ 3645586 h 3645586"/>
              <a:gd name="connsiteX3" fmla="*/ 0 w 4002710"/>
              <a:gd name="connsiteY3" fmla="*/ 3645586 h 3645586"/>
              <a:gd name="connsiteX4" fmla="*/ 0 w 4002710"/>
              <a:gd name="connsiteY4" fmla="*/ 1822793 h 3645586"/>
              <a:gd name="connsiteX5" fmla="*/ 1921036 w 4002710"/>
              <a:gd name="connsiteY5" fmla="*/ 0 h 3645586"/>
              <a:gd name="connsiteX6" fmla="*/ 2001355 w 4002710"/>
              <a:gd name="connsiteY6" fmla="*/ 3849 h 3645586"/>
              <a:gd name="connsiteX7" fmla="*/ 2081674 w 4002710"/>
              <a:gd name="connsiteY7" fmla="*/ 0 h 3645586"/>
              <a:gd name="connsiteX8" fmla="*/ 4002710 w 4002710"/>
              <a:gd name="connsiteY8" fmla="*/ 0 h 3645586"/>
              <a:gd name="connsiteX9" fmla="*/ 4002710 w 4002710"/>
              <a:gd name="connsiteY9" fmla="*/ 1822793 h 3645586"/>
              <a:gd name="connsiteX10" fmla="*/ 2081674 w 4002710"/>
              <a:gd name="connsiteY10" fmla="*/ 3645586 h 3645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02710" h="3645586">
                <a:moveTo>
                  <a:pt x="2081674" y="3645586"/>
                </a:moveTo>
                <a:lnTo>
                  <a:pt x="2001355" y="3641738"/>
                </a:lnTo>
                <a:lnTo>
                  <a:pt x="1921036" y="3645586"/>
                </a:lnTo>
                <a:lnTo>
                  <a:pt x="0" y="3645586"/>
                </a:lnTo>
                <a:lnTo>
                  <a:pt x="0" y="1822793"/>
                </a:lnTo>
                <a:cubicBezTo>
                  <a:pt x="0" y="816092"/>
                  <a:pt x="860077" y="0"/>
                  <a:pt x="1921036" y="0"/>
                </a:cubicBezTo>
                <a:lnTo>
                  <a:pt x="2001355" y="3849"/>
                </a:lnTo>
                <a:lnTo>
                  <a:pt x="2081674" y="0"/>
                </a:lnTo>
                <a:lnTo>
                  <a:pt x="4002710" y="0"/>
                </a:lnTo>
                <a:lnTo>
                  <a:pt x="4002710" y="1822793"/>
                </a:lnTo>
                <a:cubicBezTo>
                  <a:pt x="4002710" y="2829494"/>
                  <a:pt x="3142633" y="3645586"/>
                  <a:pt x="2081674" y="3645586"/>
                </a:cubicBezTo>
                <a:close/>
              </a:path>
            </a:pathLst>
          </a:custGeom>
          <a:ln w="215900">
            <a:solidFill>
              <a:srgbClr val="F5F5F5"/>
            </a:solidFill>
            <a:miter lim="800000"/>
          </a:ln>
        </p:spPr>
        <p:txBody>
          <a:bodyPr wrap="square">
            <a:noAutofit/>
          </a:bodyPr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A7B9A1-7C66-864F-89E8-C6ADB63E1A29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B73CA2F-4623-4D4B-A47D-FF9678A7F1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728EC04-FB54-D045-B426-EEE6223048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pic>
        <p:nvPicPr>
          <p:cNvPr id="7" name="Picture 6" descr="Application&#10;&#10;Description automatically generated">
            <a:extLst>
              <a:ext uri="{FF2B5EF4-FFF2-40B4-BE49-F238E27FC236}">
                <a16:creationId xmlns:a16="http://schemas.microsoft.com/office/drawing/2014/main" id="{8194759D-C047-4584-9985-1F6CF97C13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5139188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46CB4C33-DED6-0041-ABA7-C287261569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13" y="0"/>
            <a:ext cx="12192000" cy="6870357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8C00819-1863-6940-A124-E327526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2563125"/>
            <a:ext cx="4969058" cy="3665397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/>
            </a:lvl1pPr>
            <a:lvl2pPr marL="12700" indent="211138">
              <a:tabLst/>
              <a:defRPr/>
            </a:lvl2pPr>
            <a:lvl3pPr marL="250825" indent="-250825">
              <a:tabLst/>
              <a:defRPr/>
            </a:lvl3pPr>
          </a:lstStyle>
          <a:p>
            <a:pPr lvl="0"/>
            <a:r>
              <a:rPr lang="en-US"/>
              <a:t>Bullet point 1</a:t>
            </a:r>
          </a:p>
          <a:p>
            <a:pPr lvl="0"/>
            <a:r>
              <a:rPr lang="en-US"/>
              <a:t>Bullet point 2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ullet point 3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4BB5041-5687-9144-842B-22626597F7F1}"/>
              </a:ext>
            </a:extLst>
          </p:cNvPr>
          <p:cNvCxnSpPr/>
          <p:nvPr userDrawn="1"/>
        </p:nvCxnSpPr>
        <p:spPr>
          <a:xfrm>
            <a:off x="6122502" y="2563124"/>
            <a:ext cx="0" cy="366539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BB16F0E1-97B4-594E-9C49-8B7B22F185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" y="1796338"/>
            <a:ext cx="10727572" cy="375651"/>
          </a:xfrm>
        </p:spPr>
        <p:txBody>
          <a:bodyPr/>
          <a:lstStyle>
            <a:lvl1pPr marL="11113" indent="-11113">
              <a:buNone/>
              <a:tabLst/>
              <a:defRPr sz="2000" b="1"/>
            </a:lvl1pPr>
          </a:lstStyle>
          <a:p>
            <a:pPr lvl="0"/>
            <a:r>
              <a:rPr lang="en-GB"/>
              <a:t>Subhead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3A390E3-140E-E547-9E8B-4D9B3D18BD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400" y="2575206"/>
            <a:ext cx="5027062" cy="3665397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/>
            </a:lvl1pPr>
            <a:lvl2pPr marL="12700" indent="211138">
              <a:tabLst/>
              <a:defRPr/>
            </a:lvl2pPr>
            <a:lvl3pPr marL="250825" indent="-250825">
              <a:tabLst/>
              <a:defRPr/>
            </a:lvl3pPr>
          </a:lstStyle>
          <a:p>
            <a:pPr lvl="0"/>
            <a:r>
              <a:rPr lang="en-US"/>
              <a:t>Bullet point 1</a:t>
            </a:r>
          </a:p>
          <a:p>
            <a:pPr lvl="0"/>
            <a:r>
              <a:rPr lang="en-US"/>
              <a:t>Bullet point 2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ullet point 3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F267F82-1D76-804E-973A-8BD5C66E480F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75FED602-3608-C440-81BC-8A58012E92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7710" y="6057546"/>
            <a:ext cx="643155" cy="643155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7E5CF72D-FEFF-9545-B378-3B5DC80864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4078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919DBBC8-A3C9-A74F-BB81-8A62310F99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0357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33F634-82E2-4B47-98BE-CD0967D974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2827" y="2563125"/>
            <a:ext cx="3093312" cy="3665397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/>
            </a:lvl1pPr>
            <a:lvl2pPr marL="12700" indent="211138">
              <a:tabLst/>
              <a:defRPr/>
            </a:lvl2pPr>
            <a:lvl3pPr marL="250825" indent="-250825">
              <a:tabLst/>
              <a:defRPr/>
            </a:lvl3pPr>
          </a:lstStyle>
          <a:p>
            <a:pPr lvl="0"/>
            <a:r>
              <a:rPr lang="en-US"/>
              <a:t>Bullet point 1</a:t>
            </a:r>
          </a:p>
          <a:p>
            <a:pPr lvl="0"/>
            <a:r>
              <a:rPr lang="en-US"/>
              <a:t>Bullet point 2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ullet point 3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856031A-581E-C943-808C-901EA96AC8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7405" y="2563125"/>
            <a:ext cx="3145251" cy="3665397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/>
            </a:lvl1pPr>
            <a:lvl2pPr marL="12700" indent="211138">
              <a:tabLst/>
              <a:defRPr/>
            </a:lvl2pPr>
            <a:lvl3pPr marL="250825" indent="-250825">
              <a:tabLst/>
              <a:defRPr/>
            </a:lvl3pPr>
          </a:lstStyle>
          <a:p>
            <a:pPr lvl="0"/>
            <a:r>
              <a:rPr lang="en-US"/>
              <a:t>Bullet point 1</a:t>
            </a:r>
          </a:p>
          <a:p>
            <a:pPr lvl="0"/>
            <a:r>
              <a:rPr lang="en-US"/>
              <a:t>Bullet point 2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ullet point 3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1FD0595-D54C-E24E-A8CB-E3E68A7946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43922" y="2563124"/>
            <a:ext cx="3145251" cy="3665397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/>
            </a:lvl1pPr>
            <a:lvl2pPr marL="12700" indent="211138">
              <a:tabLst/>
              <a:defRPr/>
            </a:lvl2pPr>
            <a:lvl3pPr marL="250825" indent="-250825">
              <a:tabLst/>
              <a:defRPr/>
            </a:lvl3pPr>
          </a:lstStyle>
          <a:p>
            <a:pPr lvl="0"/>
            <a:r>
              <a:rPr lang="en-US"/>
              <a:t>Bullet point 1</a:t>
            </a:r>
          </a:p>
          <a:p>
            <a:pPr lvl="0"/>
            <a:r>
              <a:rPr lang="en-US"/>
              <a:t>Bullet point 2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ullet point 3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B489203-48C7-F54C-8920-EA20CDF631BF}"/>
              </a:ext>
            </a:extLst>
          </p:cNvPr>
          <p:cNvCxnSpPr/>
          <p:nvPr userDrawn="1"/>
        </p:nvCxnSpPr>
        <p:spPr>
          <a:xfrm>
            <a:off x="4174434" y="2563124"/>
            <a:ext cx="0" cy="366539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AF4720-9450-BD4A-A2D6-2D17BE596D7C}"/>
              </a:ext>
            </a:extLst>
          </p:cNvPr>
          <p:cNvCxnSpPr/>
          <p:nvPr userDrawn="1"/>
        </p:nvCxnSpPr>
        <p:spPr>
          <a:xfrm>
            <a:off x="7931425" y="2563123"/>
            <a:ext cx="0" cy="366539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15BDEDA3-9C0B-2D41-BD95-C8EAC73CB0CE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17" name="Picture 16" descr="Icon&#10;&#10;Description automatically generated">
            <a:extLst>
              <a:ext uri="{FF2B5EF4-FFF2-40B4-BE49-F238E27FC236}">
                <a16:creationId xmlns:a16="http://schemas.microsoft.com/office/drawing/2014/main" id="{E738B259-EB2F-7244-9170-5F932993ED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7710" y="6057546"/>
            <a:ext cx="643155" cy="643155"/>
          </a:xfrm>
          <a:prstGeom prst="rect">
            <a:avLst/>
          </a:prstGeom>
        </p:spPr>
      </p:pic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69AF931A-9886-1042-B92F-216BAF6998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" y="1796338"/>
            <a:ext cx="10727572" cy="375651"/>
          </a:xfrm>
        </p:spPr>
        <p:txBody>
          <a:bodyPr/>
          <a:lstStyle>
            <a:lvl1pPr marL="11113" indent="-11113">
              <a:buNone/>
              <a:tabLst/>
              <a:defRPr sz="2000" b="1"/>
            </a:lvl1pPr>
          </a:lstStyle>
          <a:p>
            <a:pPr lvl="0"/>
            <a:r>
              <a:rPr lang="en-GB"/>
              <a:t>Subhead</a:t>
            </a:r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926E213-08BB-664B-B1AE-978F00DD8A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2997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555449"/>
            <a:ext cx="12213536" cy="87206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Thank you</a:t>
            </a:r>
            <a:endParaRPr lang="en-US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91C7F613-5B79-674E-8CAB-8F5D864B8D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043" y="3252721"/>
            <a:ext cx="12213536" cy="360527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1E94BFF-B5AB-E943-9CFC-F78F07288D42}"/>
              </a:ext>
            </a:extLst>
          </p:cNvPr>
          <p:cNvSpPr txBox="1"/>
          <p:nvPr userDrawn="1"/>
        </p:nvSpPr>
        <p:spPr>
          <a:xfrm>
            <a:off x="9530079" y="6553273"/>
            <a:ext cx="256032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7" name="Picture 6" descr="Application&#10;&#10;Description automatically generated">
            <a:extLst>
              <a:ext uri="{FF2B5EF4-FFF2-40B4-BE49-F238E27FC236}">
                <a16:creationId xmlns:a16="http://schemas.microsoft.com/office/drawing/2014/main" id="{5D802721-F079-CDD6-D932-1515DA7750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34650" y="134920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1603904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EBA110A-BAEB-0141-973A-FEA95AAEC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159" y="-1"/>
            <a:ext cx="12192000" cy="68703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56937"/>
            <a:ext cx="12213536" cy="872063"/>
          </a:xfrm>
        </p:spPr>
        <p:txBody>
          <a:bodyPr anchor="b"/>
          <a:lstStyle>
            <a:lvl1pPr algn="ctr">
              <a:defRPr sz="6000">
                <a:solidFill>
                  <a:srgbClr val="53B058"/>
                </a:solidFill>
              </a:defRPr>
            </a:lvl1pPr>
          </a:lstStyle>
          <a:p>
            <a:r>
              <a:rPr lang="en-GB"/>
              <a:t>Thank you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FE22AF-0330-2E42-9C9B-80BD71BF264F}"/>
              </a:ext>
            </a:extLst>
          </p:cNvPr>
          <p:cNvSpPr txBox="1"/>
          <p:nvPr userDrawn="1"/>
        </p:nvSpPr>
        <p:spPr>
          <a:xfrm>
            <a:off x="132079" y="6553273"/>
            <a:ext cx="256032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E40DADFA-8F30-C641-B0C6-AE73CFAC37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7710" y="6057546"/>
            <a:ext cx="643155" cy="64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6596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A66A6321-CBAF-2A40-8801-01BE35D3A9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40000"/>
          </a:blip>
          <a:stretch>
            <a:fillRect/>
          </a:stretch>
        </p:blipFill>
        <p:spPr>
          <a:xfrm>
            <a:off x="9010" y="-332154"/>
            <a:ext cx="12192000" cy="719015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5424188-BEB1-9E4C-8C10-2E7F33C47095}"/>
              </a:ext>
            </a:extLst>
          </p:cNvPr>
          <p:cNvSpPr txBox="1"/>
          <p:nvPr userDrawn="1"/>
        </p:nvSpPr>
        <p:spPr>
          <a:xfrm>
            <a:off x="132079" y="6553273"/>
            <a:ext cx="256032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418ACBB8-3624-6048-8969-2D44ADD00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7710" y="6057546"/>
            <a:ext cx="643155" cy="64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7843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7037999-8E9D-CB42-AFEF-5272638472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264A9D-E9B5-7A42-A727-3F19B36C0956}" type="datetimeFigureOut">
              <a:rPr lang="en-US" smtClean="0"/>
              <a:t>6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358F46-BC37-4F4E-861D-6428C6E41A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287616-CD83-D745-AF7C-66B5A3E7A3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8F97D5-0B3E-114F-A06B-FEADF0846D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6599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9AFA5309-0ABE-AB2F-E8DC-CADE041C1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159" y="-1"/>
            <a:ext cx="12192000" cy="68703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91F1E5D-5E12-09D1-44B6-7A1A05B6DDAB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  <p:pic>
        <p:nvPicPr>
          <p:cNvPr id="4" name="Picture 3" descr="Application&#10;&#10;Description automatically generated">
            <a:extLst>
              <a:ext uri="{FF2B5EF4-FFF2-40B4-BE49-F238E27FC236}">
                <a16:creationId xmlns:a16="http://schemas.microsoft.com/office/drawing/2014/main" id="{407C1CE0-847F-6D5F-07BD-129D8D939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67DA6DE9-E303-F331-5885-B6FD67F419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1" y="703384"/>
            <a:ext cx="10589793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9265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B98D0707-8F8F-B146-8C52-B561FD0917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9012"/>
          <a:stretch/>
        </p:blipFill>
        <p:spPr>
          <a:xfrm>
            <a:off x="4053840" y="-40640"/>
            <a:ext cx="8138160" cy="688569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146" y="848751"/>
            <a:ext cx="10025934" cy="1739433"/>
          </a:xfrm>
        </p:spPr>
        <p:txBody>
          <a:bodyPr anchor="b"/>
          <a:lstStyle>
            <a:lvl1pPr algn="l">
              <a:defRPr sz="6000">
                <a:solidFill>
                  <a:srgbClr val="53B058"/>
                </a:solidFill>
              </a:defRPr>
            </a:lvl1pPr>
          </a:lstStyle>
          <a:p>
            <a:r>
              <a:rPr lang="en-GB"/>
              <a:t>Title </a:t>
            </a:r>
            <a:br>
              <a:rPr lang="en-GB"/>
            </a:br>
            <a:r>
              <a:rPr lang="en-GB"/>
              <a:t>slide 3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85A77F-4613-6A49-889D-044A5256C18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147" y="2861475"/>
            <a:ext cx="10025933" cy="106314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-title, if needed </a:t>
            </a:r>
            <a:endParaRPr lang="en-US"/>
          </a:p>
        </p:txBody>
      </p:sp>
      <p:pic>
        <p:nvPicPr>
          <p:cNvPr id="8" name="Picture 7" descr="Logo&#10;&#10;Description automatically generated with medium confidence">
            <a:extLst>
              <a:ext uri="{FF2B5EF4-FFF2-40B4-BE49-F238E27FC236}">
                <a16:creationId xmlns:a16="http://schemas.microsoft.com/office/drawing/2014/main" id="{3DBE9F0C-B0C1-364F-9445-D8318427712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160" y="5212026"/>
            <a:ext cx="3402048" cy="106314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9301A21-E7B2-3447-BA9B-2E25416FEAE5}"/>
              </a:ext>
            </a:extLst>
          </p:cNvPr>
          <p:cNvSpPr txBox="1"/>
          <p:nvPr userDrawn="1"/>
        </p:nvSpPr>
        <p:spPr>
          <a:xfrm>
            <a:off x="9540240" y="6571139"/>
            <a:ext cx="258064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519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  <p15:guide id="2" pos="32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31552112-1EDA-1348-9A06-E85F696280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159" y="-1"/>
            <a:ext cx="12192000" cy="68703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90799"/>
            <a:ext cx="12192000" cy="643155"/>
          </a:xfrm>
        </p:spPr>
        <p:txBody>
          <a:bodyPr anchor="b"/>
          <a:lstStyle>
            <a:lvl1pPr algn="ctr">
              <a:defRPr sz="4000">
                <a:solidFill>
                  <a:srgbClr val="53B058"/>
                </a:solidFill>
              </a:defRPr>
            </a:lvl1pPr>
          </a:lstStyle>
          <a:p>
            <a:r>
              <a:rPr lang="en-GB"/>
              <a:t>Section Divider: Plain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C5750F5-B00C-4841-AA7D-EE297926A599}"/>
              </a:ext>
            </a:extLst>
          </p:cNvPr>
          <p:cNvSpPr txBox="1"/>
          <p:nvPr userDrawn="1"/>
        </p:nvSpPr>
        <p:spPr>
          <a:xfrm>
            <a:off x="132079" y="6553273"/>
            <a:ext cx="3271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 sz="1000"/>
          </a:p>
        </p:txBody>
      </p:sp>
      <p:pic>
        <p:nvPicPr>
          <p:cNvPr id="7" name="Picture 6" descr="Application&#10;&#10;Description automatically generated">
            <a:extLst>
              <a:ext uri="{FF2B5EF4-FFF2-40B4-BE49-F238E27FC236}">
                <a16:creationId xmlns:a16="http://schemas.microsoft.com/office/drawing/2014/main" id="{1323AEA1-3D92-9586-6AB0-BF66DC1C9C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36250" y="5839563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7847441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5AB137F7-4470-674A-B763-E69F613E29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3169" y="0"/>
            <a:ext cx="12192000" cy="687035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FEAB991-7420-4B4E-9529-11ABD2338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90799"/>
            <a:ext cx="12192000" cy="643155"/>
          </a:xfrm>
        </p:spPr>
        <p:txBody>
          <a:bodyPr anchor="b"/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Section Divider: Blocks</a:t>
            </a:r>
            <a:endParaRPr lang="en-US"/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E0A7485E-FABC-9C45-807C-45B10991B7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339" y="4994031"/>
            <a:ext cx="12024984" cy="1875692"/>
          </a:xfrm>
          <a:prstGeom prst="rect">
            <a:avLst/>
          </a:prstGeom>
        </p:spPr>
      </p:pic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220313A8-413D-A444-A021-CB153809DAF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23329" y="275411"/>
            <a:ext cx="534991" cy="53499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E944D1F-16E2-1C42-BC01-40BDA1B0C498}"/>
              </a:ext>
            </a:extLst>
          </p:cNvPr>
          <p:cNvSpPr txBox="1"/>
          <p:nvPr userDrawn="1"/>
        </p:nvSpPr>
        <p:spPr>
          <a:xfrm>
            <a:off x="132079" y="6553273"/>
            <a:ext cx="3271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759517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7A7948B9-E2D7-0C46-BBD5-8A8901B485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509"/>
          <a:stretch/>
        </p:blipFill>
        <p:spPr>
          <a:xfrm>
            <a:off x="0" y="0"/>
            <a:ext cx="12192000" cy="68783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90799"/>
            <a:ext cx="12192000" cy="643155"/>
          </a:xfr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Divider: Green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500FF99-9F59-0540-BF93-0DA39ED3074D}"/>
              </a:ext>
            </a:extLst>
          </p:cNvPr>
          <p:cNvSpPr txBox="1"/>
          <p:nvPr userDrawn="1"/>
        </p:nvSpPr>
        <p:spPr>
          <a:xfrm>
            <a:off x="132079" y="6553273"/>
            <a:ext cx="3271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 sz="1000"/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A06CF6AA-2ABC-A442-9DCD-CD50B26D3C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5486" y="6047718"/>
            <a:ext cx="643155" cy="64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717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t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71B6609C-F2CE-8D4A-8125-64CCCDB288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83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90799"/>
            <a:ext cx="12192000" cy="643155"/>
          </a:xfr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Divider: Tan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E67CE2-3041-1547-9F0B-C855A7A3F576}"/>
              </a:ext>
            </a:extLst>
          </p:cNvPr>
          <p:cNvSpPr txBox="1"/>
          <p:nvPr userDrawn="1"/>
        </p:nvSpPr>
        <p:spPr>
          <a:xfrm>
            <a:off x="132079" y="6553273"/>
            <a:ext cx="3271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 sz="100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22E77DFA-D338-1E4E-9FCD-DFD64BA6C3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5486" y="6047718"/>
            <a:ext cx="643155" cy="64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529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485F87BC-EFDD-D244-85B2-858EE64E20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347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90799"/>
            <a:ext cx="12192000" cy="643155"/>
          </a:xfrm>
        </p:spPr>
        <p:txBody>
          <a:bodyPr anchor="b"/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Section Divider: Yellow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2E68D0-1A0A-0841-8342-AD55AE73F016}"/>
              </a:ext>
            </a:extLst>
          </p:cNvPr>
          <p:cNvSpPr txBox="1"/>
          <p:nvPr userDrawn="1"/>
        </p:nvSpPr>
        <p:spPr>
          <a:xfrm>
            <a:off x="132079" y="6553273"/>
            <a:ext cx="3271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 sz="100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1D5AF871-7C29-084E-8C12-C2368388D5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5486" y="6047718"/>
            <a:ext cx="643155" cy="64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0333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3349783A-3F3D-2048-A533-417AE864E6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63"/>
          <a:stretch/>
        </p:blipFill>
        <p:spPr>
          <a:xfrm>
            <a:off x="0" y="-54429"/>
            <a:ext cx="12192000" cy="69124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90799"/>
            <a:ext cx="12192000" cy="643155"/>
          </a:xfr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Divider: Blue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CF2284-C5F6-F247-990C-4AF26C41B122}"/>
              </a:ext>
            </a:extLst>
          </p:cNvPr>
          <p:cNvSpPr txBox="1"/>
          <p:nvPr userDrawn="1"/>
        </p:nvSpPr>
        <p:spPr>
          <a:xfrm>
            <a:off x="132079" y="6553273"/>
            <a:ext cx="3271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© British Nutrition Foundation 2022 | nutrition.org.uk</a:t>
            </a:r>
          </a:p>
          <a:p>
            <a:pPr algn="l"/>
            <a:endParaRPr lang="en-US" sz="100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9E6954E2-285B-2B47-92D3-F16E53FA2A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5486" y="6047718"/>
            <a:ext cx="643155" cy="64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25795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26C4D72-AE0F-FE4B-B6A5-4581A0B2D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4E3A59-2058-7442-9528-A596EE7C5F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E8C908-3946-184B-98CF-F23A68BC41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64A9D-E9B5-7A42-A727-3F19B36C0956}" type="datetimeFigureOut">
              <a:rPr lang="en-US" smtClean="0"/>
              <a:t>6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50DA2C-8883-AF4F-98A4-CB3E52833C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6AD9E1-5C2C-4043-83EB-2BF8C8F736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8F97D5-0B3E-114F-A06B-FEADF0846D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954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60" r:id="rId3"/>
    <p:sldLayoutId id="2147483662" r:id="rId4"/>
    <p:sldLayoutId id="2147483663" r:id="rId5"/>
    <p:sldLayoutId id="2147483674" r:id="rId6"/>
    <p:sldLayoutId id="2147483677" r:id="rId7"/>
    <p:sldLayoutId id="2147483675" r:id="rId8"/>
    <p:sldLayoutId id="2147483678" r:id="rId9"/>
    <p:sldLayoutId id="2147483679" r:id="rId10"/>
    <p:sldLayoutId id="2147483664" r:id="rId11"/>
    <p:sldLayoutId id="2147483687" r:id="rId12"/>
    <p:sldLayoutId id="2147483666" r:id="rId13"/>
    <p:sldLayoutId id="2147483670" r:id="rId14"/>
    <p:sldLayoutId id="2147483681" r:id="rId15"/>
    <p:sldLayoutId id="2147483682" r:id="rId16"/>
    <p:sldLayoutId id="2147483665" r:id="rId17"/>
    <p:sldLayoutId id="2147483683" r:id="rId18"/>
    <p:sldLayoutId id="2147483680" r:id="rId19"/>
    <p:sldLayoutId id="2147483684" r:id="rId20"/>
    <p:sldLayoutId id="2147483685" r:id="rId21"/>
    <p:sldLayoutId id="2147483686" r:id="rId22"/>
    <p:sldLayoutId id="2147483673" r:id="rId23"/>
    <p:sldLayoutId id="2147483667" r:id="rId24"/>
    <p:sldLayoutId id="2147483668" r:id="rId25"/>
    <p:sldLayoutId id="2147483669" r:id="rId26"/>
    <p:sldLayoutId id="2147483671" r:id="rId27"/>
    <p:sldLayoutId id="2147483655" r:id="rId28"/>
    <p:sldLayoutId id="2147483688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Relationship Id="rId9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Relationship Id="rId9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7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Relationship Id="rId9" Type="http://schemas.openxmlformats.org/officeDocument/2006/relationships/image" Target="../media/image6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3" Type="http://schemas.openxmlformats.org/officeDocument/2006/relationships/image" Target="../media/image67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10" Type="http://schemas.openxmlformats.org/officeDocument/2006/relationships/image" Target="../media/image73.jpeg"/><Relationship Id="rId4" Type="http://schemas.openxmlformats.org/officeDocument/2006/relationships/image" Target="../media/image68.png"/><Relationship Id="rId9" Type="http://schemas.openxmlformats.org/officeDocument/2006/relationships/image" Target="../media/image7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76.pn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78.png"/><Relationship Id="rId5" Type="http://schemas.openxmlformats.org/officeDocument/2006/relationships/image" Target="../media/image75.png"/><Relationship Id="rId4" Type="http://schemas.openxmlformats.org/officeDocument/2006/relationships/image" Target="../media/image77.png"/><Relationship Id="rId9" Type="http://schemas.openxmlformats.org/officeDocument/2006/relationships/image" Target="../media/image54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utrition.org.uk/healthy-eating-week/" TargetMode="Externa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9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Relationship Id="rId9" Type="http://schemas.openxmlformats.org/officeDocument/2006/relationships/image" Target="../media/image32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emf"/><Relationship Id="rId9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FC6508E-64EC-F921-D891-4D25C5E6AC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6282" y="1151619"/>
            <a:ext cx="9353320" cy="1739433"/>
          </a:xfrm>
        </p:spPr>
        <p:txBody>
          <a:bodyPr>
            <a:normAutofit/>
          </a:bodyPr>
          <a:lstStyle/>
          <a:p>
            <a:r>
              <a:rPr lang="en-US" sz="5400" dirty="0"/>
              <a:t>Healthy Eating Week 2022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252EFDA-B7E9-31A3-0815-54BAB0925F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2608" y="3164343"/>
            <a:ext cx="7632856" cy="1063140"/>
          </a:xfrm>
        </p:spPr>
        <p:txBody>
          <a:bodyPr/>
          <a:lstStyle/>
          <a:p>
            <a:r>
              <a:rPr lang="en-US" dirty="0"/>
              <a:t>13-17</a:t>
            </a:r>
            <a:r>
              <a:rPr lang="en-US" baseline="30000" dirty="0"/>
              <a:t> </a:t>
            </a:r>
            <a:r>
              <a:rPr lang="en-US" dirty="0"/>
              <a:t>June 2022</a:t>
            </a:r>
          </a:p>
        </p:txBody>
      </p:sp>
    </p:spTree>
    <p:extLst>
      <p:ext uri="{BB962C8B-B14F-4D97-AF65-F5344CB8AC3E}">
        <p14:creationId xmlns:p14="http://schemas.microsoft.com/office/powerpoint/2010/main" val="2812215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160966E-80DE-9610-7C21-8A4D3101C0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7339" y="1530823"/>
            <a:ext cx="2600497" cy="219215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4EB1F2D-221A-0C5D-9E3B-65A80AB896D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6720" y="3962463"/>
            <a:ext cx="2600496" cy="21921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2148C3A-A93B-BEED-32B5-5AE45BA6916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7029" y="1530823"/>
            <a:ext cx="2600497" cy="2192154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253746E3-08C7-169C-1221-8C142D6A28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08892" y="703384"/>
            <a:ext cx="10433208" cy="691661"/>
          </a:xfrm>
        </p:spPr>
        <p:txBody>
          <a:bodyPr anchor="b">
            <a:normAutofit/>
          </a:bodyPr>
          <a:lstStyle/>
          <a:p>
            <a:r>
              <a:rPr lang="en-GB" sz="3600">
                <a:latin typeface="Georgia"/>
              </a:rPr>
              <a:t>Here are some examples of wholegrain food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68A368-58C3-173B-552F-B9F0B118BAE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7337" y="3962463"/>
            <a:ext cx="2600497" cy="219215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A7477F-05D9-A125-CE57-803043A3A13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6720" y="1530823"/>
            <a:ext cx="2600496" cy="21921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D12B943-AEB1-100E-83AB-48FB960F9F5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7030" y="3962462"/>
            <a:ext cx="2600496" cy="2192153"/>
          </a:xfrm>
          <a:prstGeom prst="rect">
            <a:avLst/>
          </a:prstGeom>
        </p:spPr>
      </p:pic>
      <p:pic>
        <p:nvPicPr>
          <p:cNvPr id="12" name="Picture 11" descr="Chart&#10;&#10;Description automatically generated with medium confidence">
            <a:extLst>
              <a:ext uri="{FF2B5EF4-FFF2-40B4-BE49-F238E27FC236}">
                <a16:creationId xmlns:a16="http://schemas.microsoft.com/office/drawing/2014/main" id="{66F3B518-CA6D-8677-1DE0-E65D8939CF5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2805" y="195380"/>
            <a:ext cx="1346742" cy="134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397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6E14F1-9038-5C5A-93FB-11A59C9F348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b="0" i="0">
                <a:effectLst/>
              </a:rPr>
              <a:t>Get at least 5 A DAY - put plenty on your plat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41E70A-C562-419A-E213-EB1990514F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>
                <a:solidFill>
                  <a:srgbClr val="000000"/>
                </a:solidFill>
                <a:latin typeface="+mj-lt"/>
              </a:rPr>
              <a:t>Have at least 5 portions of a variety of fruit and vegetables every day.	</a:t>
            </a:r>
          </a:p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GB" sz="2200" i="0" u="none" strike="noStrike" baseline="0">
              <a:latin typeface="+mj-lt"/>
            </a:endParaRP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>
                <a:latin typeface="+mj-lt"/>
              </a:rPr>
              <a:t>Fruit and vegetables provide us with vitamins, minerals and fibre.</a:t>
            </a: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GB" sz="2200" i="0" u="none" strike="noStrike" baseline="0">
              <a:latin typeface="+mj-lt"/>
            </a:endParaRP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b="0" i="0">
                <a:effectLst/>
                <a:latin typeface="+mj-lt"/>
              </a:rPr>
              <a:t>Fruit and vegetables tend to have a low environmental impact.</a:t>
            </a:r>
            <a:endParaRPr lang="en-GB" sz="2200">
              <a:highlight>
                <a:srgbClr val="FFFF00"/>
              </a:highlight>
              <a:latin typeface="+mj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1C60AF4-7412-DDF7-5C54-9BA9B8FE950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6756" y="1884485"/>
            <a:ext cx="4511081" cy="3802729"/>
          </a:xfrm>
          <a:prstGeom prst="rect">
            <a:avLst/>
          </a:prstGeom>
        </p:spPr>
      </p:pic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A8A7CDA1-5585-1A68-58A4-B2FB97804E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5" y="190223"/>
            <a:ext cx="1311711" cy="1313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3485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248C52F-7324-B9B1-F206-88E5D0A05A8D}"/>
              </a:ext>
            </a:extLst>
          </p:cNvPr>
          <p:cNvSpPr txBox="1">
            <a:spLocks/>
          </p:cNvSpPr>
          <p:nvPr/>
        </p:nvSpPr>
        <p:spPr>
          <a:xfrm>
            <a:off x="801103" y="2581479"/>
            <a:ext cx="10589793" cy="120728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GB"/>
              <a:t>How many portions of fruit and vegetables </a:t>
            </a:r>
          </a:p>
          <a:p>
            <a:pPr algn="ctr"/>
            <a:r>
              <a:rPr lang="en-GB"/>
              <a:t>do you eat each day?</a:t>
            </a:r>
          </a:p>
        </p:txBody>
      </p:sp>
      <p:pic>
        <p:nvPicPr>
          <p:cNvPr id="4" name="Picture 3" descr="A picture containing logo&#10;&#10;Description automatically generated">
            <a:extLst>
              <a:ext uri="{FF2B5EF4-FFF2-40B4-BE49-F238E27FC236}">
                <a16:creationId xmlns:a16="http://schemas.microsoft.com/office/drawing/2014/main" id="{2D92A1B8-4CF7-D0F8-9F46-7F4E45ED10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5" y="190223"/>
            <a:ext cx="1311711" cy="1313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7892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238F5A7-1DA8-E539-CFDF-4DC6CC440AD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3493" y="1631360"/>
            <a:ext cx="2671200" cy="225175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D98CA69-3AE8-CD75-C42B-1146D0DA7B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3493" y="4229579"/>
            <a:ext cx="2671200" cy="21266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0DEE26D-A213-7EFA-D790-141FA8DC9E3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1816" y="4229580"/>
            <a:ext cx="2671200" cy="2126680"/>
          </a:xfrm>
          <a:prstGeom prst="rect">
            <a:avLst/>
          </a:prstGeom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FADD09FB-845C-3292-5E87-750F55C711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08892" y="703384"/>
            <a:ext cx="10433208" cy="691661"/>
          </a:xfrm>
        </p:spPr>
        <p:txBody>
          <a:bodyPr anchor="b">
            <a:normAutofit/>
          </a:bodyPr>
          <a:lstStyle/>
          <a:p>
            <a:r>
              <a:rPr lang="en-GB" dirty="0"/>
              <a:t>Here are some examples of fruit and ve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0EEAD7D-EB66-E5D2-2F7B-2EE2BF882B4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1816" y="1631359"/>
            <a:ext cx="2671200" cy="225175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0E07FB0-CCC3-246E-D561-71E9EC52BBC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1406" y="4229580"/>
            <a:ext cx="2671200" cy="212668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020623C-D671-19D3-5118-A4CF3DC7B65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1406" y="1631360"/>
            <a:ext cx="2671200" cy="2251755"/>
          </a:xfrm>
          <a:prstGeom prst="rect">
            <a:avLst/>
          </a:prstGeom>
        </p:spPr>
      </p:pic>
      <p:pic>
        <p:nvPicPr>
          <p:cNvPr id="12" name="Picture 11" descr="A picture containing logo&#10;&#10;Description automatically generated">
            <a:extLst>
              <a:ext uri="{FF2B5EF4-FFF2-40B4-BE49-F238E27FC236}">
                <a16:creationId xmlns:a16="http://schemas.microsoft.com/office/drawing/2014/main" id="{450B171A-915E-787D-E02F-0D202F25794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5" y="190223"/>
            <a:ext cx="1311711" cy="1313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784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D13031-2B77-299C-75DA-48BE22430A9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b="0" i="0">
                <a:solidFill>
                  <a:srgbClr val="263143"/>
                </a:solidFill>
                <a:effectLst/>
              </a:rPr>
              <a:t>Vary your protein - be more creativ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BCA156-7578-1546-B705-66A9B57A69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 dirty="0">
                <a:solidFill>
                  <a:srgbClr val="000000"/>
                </a:solidFill>
                <a:latin typeface="+mj-lt"/>
              </a:rPr>
              <a:t>Eat a wider variety of protein foods and choose plant-based protein more often.</a:t>
            </a:r>
          </a:p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dirty="0">
                <a:solidFill>
                  <a:srgbClr val="000000"/>
                </a:solidFill>
                <a:latin typeface="+mj-lt"/>
              </a:rPr>
              <a:t>P</a:t>
            </a:r>
            <a:r>
              <a:rPr lang="en-GB" sz="2200" i="0" u="none" strike="noStrike" baseline="0" dirty="0">
                <a:solidFill>
                  <a:srgbClr val="000000"/>
                </a:solidFill>
                <a:latin typeface="+mj-lt"/>
              </a:rPr>
              <a:t>lant-based proteins can include pulses (peas, beans, lentils), nuts and seeds.</a:t>
            </a:r>
            <a:endParaRPr lang="en-GB" sz="2200" i="0" u="none" strike="noStrike" baseline="0" dirty="0">
              <a:latin typeface="+mj-lt"/>
            </a:endParaRP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 dirty="0">
                <a:latin typeface="+mj-lt"/>
              </a:rPr>
              <a:t>Plant-based proteins can provide fibre, vitamins and minerals. </a:t>
            </a: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dirty="0">
                <a:latin typeface="+mj-lt"/>
              </a:rPr>
              <a:t>G</a:t>
            </a:r>
            <a:r>
              <a:rPr lang="en-GB" sz="2200" i="0" u="none" strike="noStrike" baseline="0" dirty="0">
                <a:latin typeface="+mj-lt"/>
              </a:rPr>
              <a:t>rowing pulses can help the planet by improving soil health and reducing the need for fertilisers.</a:t>
            </a:r>
            <a:endParaRPr lang="en-GB" sz="2200" dirty="0">
              <a:latin typeface="+mj-lt"/>
            </a:endParaRPr>
          </a:p>
          <a:p>
            <a:pPr marL="296863" indent="-285750">
              <a:buFont typeface="Arial" panose="020B0604020202020204" pitchFamily="34" charset="0"/>
              <a:buChar char="•"/>
            </a:pPr>
            <a:endParaRPr lang="en-GB" sz="2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B4172CF-579F-9AFC-21E0-FA60B6CCDFF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1719" y="1832851"/>
            <a:ext cx="4582424" cy="3862869"/>
          </a:xfrm>
          <a:prstGeom prst="rect">
            <a:avLst/>
          </a:prstGeom>
        </p:spPr>
      </p:pic>
      <p:pic>
        <p:nvPicPr>
          <p:cNvPr id="9" name="Picture 8" descr="A picture containing diagram&#10;&#10;Description automatically generated">
            <a:extLst>
              <a:ext uri="{FF2B5EF4-FFF2-40B4-BE49-F238E27FC236}">
                <a16:creationId xmlns:a16="http://schemas.microsoft.com/office/drawing/2014/main" id="{C7CF18CB-B021-9545-1936-1EC471CF1C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5" y="190223"/>
            <a:ext cx="1311711" cy="1311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9445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E1F73EA-365E-190B-1048-73E43DD3084E}"/>
              </a:ext>
            </a:extLst>
          </p:cNvPr>
          <p:cNvSpPr txBox="1">
            <a:spLocks/>
          </p:cNvSpPr>
          <p:nvPr/>
        </p:nvSpPr>
        <p:spPr>
          <a:xfrm>
            <a:off x="661778" y="2081748"/>
            <a:ext cx="10868443" cy="120728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GB" dirty="0"/>
              <a:t>Have you ever tried pulses like beans or lentils?</a:t>
            </a:r>
          </a:p>
        </p:txBody>
      </p:sp>
      <p:pic>
        <p:nvPicPr>
          <p:cNvPr id="4" name="Picture 3" descr="A picture containing diagram&#10;&#10;Description automatically generated">
            <a:extLst>
              <a:ext uri="{FF2B5EF4-FFF2-40B4-BE49-F238E27FC236}">
                <a16:creationId xmlns:a16="http://schemas.microsoft.com/office/drawing/2014/main" id="{E3CD27FE-ABE8-718B-545B-0E7D66CEA24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5" y="190223"/>
            <a:ext cx="1311711" cy="1311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2826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3FAFCF-797B-FA6C-9115-5569E8A202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Here are some examples of plant protei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41EDAB-B02D-F30B-069B-EB2EB123AAD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1339" y="4162146"/>
            <a:ext cx="2615557" cy="22048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CD246A6-98D2-052E-0566-A7E90795A87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6129" y="1650438"/>
            <a:ext cx="2615557" cy="22048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58E6FEF-9023-9459-12AA-7BE59171336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1339" y="1650439"/>
            <a:ext cx="2615558" cy="22048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FF1F125-BC35-54B6-6B3A-750E4BCE85C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6548" y="4162146"/>
            <a:ext cx="2615557" cy="2204849"/>
          </a:xfrm>
          <a:prstGeom prst="rect">
            <a:avLst/>
          </a:prstGeom>
        </p:spPr>
      </p:pic>
      <p:pic>
        <p:nvPicPr>
          <p:cNvPr id="10" name="Picture 9" descr="A picture containing diagram&#10;&#10;Description automatically generated">
            <a:extLst>
              <a:ext uri="{FF2B5EF4-FFF2-40B4-BE49-F238E27FC236}">
                <a16:creationId xmlns:a16="http://schemas.microsoft.com/office/drawing/2014/main" id="{D86D538C-D2C0-B8C5-0964-33B3CC917B9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5" y="190223"/>
            <a:ext cx="1311711" cy="13117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2D45110-D3D5-D6CE-CA0C-E23AB49A458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6548" y="1650437"/>
            <a:ext cx="2615557" cy="220484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6E1D0A2-86F1-D3FB-5FE3-47AC3CA9EFE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6129" y="4162146"/>
            <a:ext cx="2615557" cy="2204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4591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7C40EC-55A5-1E17-8498-FE9CA7DD961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b="0" i="0">
                <a:solidFill>
                  <a:srgbClr val="263143"/>
                </a:solidFill>
                <a:effectLst/>
              </a:rPr>
              <a:t>Stay hydrated - fill up from the tap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B6529B-8A69-FE97-054F-7EB05EF501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>
                <a:latin typeface="+mj-lt"/>
              </a:rPr>
              <a:t>Have about 6-8 drinks a day (</a:t>
            </a:r>
            <a:r>
              <a:rPr lang="en-GB" sz="2200">
                <a:effectLst/>
                <a:latin typeface="+mj-lt"/>
              </a:rPr>
              <a:t>about 1.2 litres)</a:t>
            </a:r>
            <a:r>
              <a:rPr lang="en-GB" sz="2200" i="0" u="none" strike="noStrike" baseline="0">
                <a:latin typeface="+mj-lt"/>
              </a:rPr>
              <a:t> and choose reusable or recyclable drinks containers.</a:t>
            </a: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>
                <a:latin typeface="+mj-lt"/>
              </a:rPr>
              <a:t>Drinking plenty can stop us from becoming dehydrated, </a:t>
            </a:r>
            <a:r>
              <a:rPr lang="en-GB" sz="2200">
                <a:effectLst/>
                <a:latin typeface="+mj-lt"/>
              </a:rPr>
              <a:t>especially if we are more active and during hot weather</a:t>
            </a:r>
            <a:r>
              <a:rPr lang="en-GB" sz="2200" i="0" u="none" strike="noStrike" baseline="0">
                <a:latin typeface="+mj-lt"/>
              </a:rPr>
              <a:t>.</a:t>
            </a: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>
                <a:latin typeface="+mj-lt"/>
              </a:rPr>
              <a:t>R</a:t>
            </a:r>
            <a:r>
              <a:rPr lang="en-GB" sz="2200" i="0" u="none" strike="noStrike" baseline="0">
                <a:latin typeface="+mj-lt"/>
              </a:rPr>
              <a:t>eusable drinks containers can reduce single-use packaging.</a:t>
            </a:r>
            <a:endParaRPr lang="en-GB" sz="2200">
              <a:latin typeface="+mj-lt"/>
            </a:endParaRPr>
          </a:p>
          <a:p>
            <a:pPr marL="296863" indent="-285750">
              <a:buFont typeface="Arial" panose="020B0604020202020204" pitchFamily="34" charset="0"/>
              <a:buChar char="•"/>
            </a:pPr>
            <a:endParaRPr lang="en-GB" sz="2200">
              <a:latin typeface="+mj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BA5470-B29B-68C2-FC22-81805A4FC6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5560" y="1935068"/>
            <a:ext cx="4081850" cy="3440898"/>
          </a:xfrm>
          <a:prstGeom prst="rect">
            <a:avLst/>
          </a:prstGeom>
        </p:spPr>
      </p:pic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4B57CBF7-54B0-55B5-954C-796383B92A1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5" y="190222"/>
            <a:ext cx="1311711" cy="1311711"/>
          </a:xfrm>
          <a:prstGeom prst="rect">
            <a:avLst/>
          </a:prstGeom>
        </p:spPr>
      </p:pic>
      <p:pic>
        <p:nvPicPr>
          <p:cNvPr id="5" name="Picture 4" descr="Shape&#10;&#10;Description automatically generated">
            <a:extLst>
              <a:ext uri="{FF2B5EF4-FFF2-40B4-BE49-F238E27FC236}">
                <a16:creationId xmlns:a16="http://schemas.microsoft.com/office/drawing/2014/main" id="{49948643-343F-6973-FE4C-9368847ED73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19586" y="4264822"/>
            <a:ext cx="776414" cy="1812882"/>
          </a:xfrm>
          <a:prstGeom prst="rect">
            <a:avLst/>
          </a:prstGeom>
        </p:spPr>
      </p:pic>
      <p:pic>
        <p:nvPicPr>
          <p:cNvPr id="9" name="Picture 8" descr="A picture containing tableware, bottle&#10;&#10;Description automatically generated">
            <a:extLst>
              <a:ext uri="{FF2B5EF4-FFF2-40B4-BE49-F238E27FC236}">
                <a16:creationId xmlns:a16="http://schemas.microsoft.com/office/drawing/2014/main" id="{9727130D-E0CC-84BA-512C-3D4B12A461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5496" y="4432977"/>
            <a:ext cx="964149" cy="1721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4432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785A9D1-BB71-73E2-F58D-688A28935446}"/>
              </a:ext>
            </a:extLst>
          </p:cNvPr>
          <p:cNvSpPr txBox="1">
            <a:spLocks/>
          </p:cNvSpPr>
          <p:nvPr/>
        </p:nvSpPr>
        <p:spPr>
          <a:xfrm>
            <a:off x="801103" y="2852941"/>
            <a:ext cx="10589793" cy="84752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GB"/>
              <a:t>Do you have 6-8 drinks each day?</a:t>
            </a:r>
          </a:p>
        </p:txBody>
      </p:sp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4C9F8AE6-0FEA-047B-CF57-EB2CFAB47E9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5" y="190222"/>
            <a:ext cx="1311711" cy="1311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770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39744-047A-3E69-2FBD-92F6E5A5D19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Here are some examples of drink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2B57C2C-4711-BC57-0CBD-6CE654B574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271" y="4161810"/>
            <a:ext cx="2583543" cy="21778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3887E8-B69F-F32C-2EDA-9442DADE47A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272" y="1694518"/>
            <a:ext cx="2583544" cy="21778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4DDA49C-F6AF-09AD-A5E3-268D8950B6E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7475" y="1692426"/>
            <a:ext cx="2583545" cy="217786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BC9F279-603A-06B8-905C-A0960A6E169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1686" y="1692426"/>
            <a:ext cx="2583544" cy="217786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2551AB0-69C5-5288-0151-AF58308C207B}"/>
              </a:ext>
            </a:extLst>
          </p:cNvPr>
          <p:cNvSpPr txBox="1"/>
          <p:nvPr/>
        </p:nvSpPr>
        <p:spPr>
          <a:xfrm>
            <a:off x="10365077" y="2105544"/>
            <a:ext cx="157790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/>
              <a:t>Remember to choose unsweetened milk alternatives, such as soya drinks, that are fortified with calcium and preferably other vitamins and minerals.</a:t>
            </a:r>
          </a:p>
        </p:txBody>
      </p:sp>
      <p:sp>
        <p:nvSpPr>
          <p:cNvPr id="12" name="Speech Bubble: Rectangle with Corners Rounded 11">
            <a:extLst>
              <a:ext uri="{FF2B5EF4-FFF2-40B4-BE49-F238E27FC236}">
                <a16:creationId xmlns:a16="http://schemas.microsoft.com/office/drawing/2014/main" id="{812B43D4-6640-F01D-ACC2-2AB1B8A0FAB9}"/>
              </a:ext>
            </a:extLst>
          </p:cNvPr>
          <p:cNvSpPr/>
          <p:nvPr/>
        </p:nvSpPr>
        <p:spPr>
          <a:xfrm>
            <a:off x="10365075" y="2087071"/>
            <a:ext cx="1566886" cy="2167158"/>
          </a:xfrm>
          <a:prstGeom prst="wedgeRoundRectCallout">
            <a:avLst>
              <a:gd name="adj1" fmla="val -41490"/>
              <a:gd name="adj2" fmla="val 59861"/>
              <a:gd name="adj3" fmla="val 16667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 descr="A picture containing logo&#10;&#10;Description automatically generated">
            <a:extLst>
              <a:ext uri="{FF2B5EF4-FFF2-40B4-BE49-F238E27FC236}">
                <a16:creationId xmlns:a16="http://schemas.microsoft.com/office/drawing/2014/main" id="{0A0EF1BE-1F91-BFB9-B0B0-10DF1B71F54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5" y="190222"/>
            <a:ext cx="1311711" cy="1311711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646E631-80A0-10F9-DE7F-6B63D4B573A7}"/>
              </a:ext>
            </a:extLst>
          </p:cNvPr>
          <p:cNvGrpSpPr/>
          <p:nvPr/>
        </p:nvGrpSpPr>
        <p:grpSpPr>
          <a:xfrm>
            <a:off x="4587477" y="4161809"/>
            <a:ext cx="2583543" cy="2177863"/>
            <a:chOff x="4587477" y="4161810"/>
            <a:chExt cx="2583543" cy="2177863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5E92BBF-2567-9F0D-2070-4ED9845E99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87477" y="4161810"/>
              <a:ext cx="2583543" cy="2177863"/>
            </a:xfrm>
            <a:prstGeom prst="rect">
              <a:avLst/>
            </a:prstGeom>
          </p:spPr>
        </p:pic>
        <p:pic>
          <p:nvPicPr>
            <p:cNvPr id="10" name="Picture 9" descr="A glass of beer&#10;&#10;Description automatically generated with medium confidence">
              <a:extLst>
                <a:ext uri="{FF2B5EF4-FFF2-40B4-BE49-F238E27FC236}">
                  <a16:creationId xmlns:a16="http://schemas.microsoft.com/office/drawing/2014/main" id="{603E3ECC-ADE7-BA10-9350-AA8805BC17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39544" y="4254230"/>
              <a:ext cx="1679405" cy="1993022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87E825E-3EE0-852C-19F2-612C64A27D1D}"/>
              </a:ext>
            </a:extLst>
          </p:cNvPr>
          <p:cNvGrpSpPr/>
          <p:nvPr/>
        </p:nvGrpSpPr>
        <p:grpSpPr>
          <a:xfrm>
            <a:off x="7681687" y="4167671"/>
            <a:ext cx="2583544" cy="2177863"/>
            <a:chOff x="7681687" y="4167671"/>
            <a:chExt cx="2583544" cy="217786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A5F1BC4-B4A5-A029-5C07-238AA5D1E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81687" y="4167671"/>
              <a:ext cx="2583544" cy="2177863"/>
            </a:xfrm>
            <a:prstGeom prst="rect">
              <a:avLst/>
            </a:prstGeom>
          </p:spPr>
        </p:pic>
        <p:pic>
          <p:nvPicPr>
            <p:cNvPr id="17" name="Picture 16" descr="A picture containing cup, table, glass, indoor&#10;&#10;Description automatically generated">
              <a:extLst>
                <a:ext uri="{FF2B5EF4-FFF2-40B4-BE49-F238E27FC236}">
                  <a16:creationId xmlns:a16="http://schemas.microsoft.com/office/drawing/2014/main" id="{255BEBBF-B616-B232-2971-700A97F912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4094" y="4381143"/>
              <a:ext cx="2198728" cy="17391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984245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person, food, indoor&#10;&#10;Description automatically generated">
            <a:extLst>
              <a:ext uri="{FF2B5EF4-FFF2-40B4-BE49-F238E27FC236}">
                <a16:creationId xmlns:a16="http://schemas.microsoft.com/office/drawing/2014/main" id="{29956A97-99F2-7ED0-7A8A-ED211A98770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17219" y="1834018"/>
            <a:ext cx="3552103" cy="3285902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192DAF1-7F4B-5064-B111-75F17C38539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’s it all about?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D8A7-B8E2-EA1D-4ECE-3A7CD218FF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261" y="1834018"/>
            <a:ext cx="5871986" cy="4320598"/>
          </a:xfrm>
        </p:spPr>
        <p:txBody>
          <a:bodyPr>
            <a:noAutofit/>
          </a:bodyPr>
          <a:lstStyle/>
          <a:p>
            <a:pPr marL="468313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400" b="0" i="0" dirty="0">
                <a:effectLst/>
                <a:latin typeface="+mj-lt"/>
              </a:rPr>
              <a:t>The British Nutrition Foundation’s Healthy Eating Week is taking place from 13-17 June 2022.</a:t>
            </a:r>
          </a:p>
          <a:p>
            <a:pPr marL="468313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400" dirty="0">
                <a:latin typeface="+mj-lt"/>
              </a:rPr>
              <a:t>The Week highlights what you can do to have a healthier and more sustainable diet and lifestyle.</a:t>
            </a:r>
            <a:endParaRPr lang="en-GB" sz="2400" b="0" i="0" dirty="0">
              <a:effectLst/>
              <a:latin typeface="+mj-lt"/>
            </a:endParaRPr>
          </a:p>
          <a:p>
            <a:pPr marL="468313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400" b="0" i="0" dirty="0">
                <a:effectLst/>
                <a:latin typeface="+mj-lt"/>
              </a:rPr>
              <a:t>The big message for the Week is: </a:t>
            </a:r>
          </a:p>
          <a:p>
            <a:pPr marL="457200" lvl="1" indent="0">
              <a:buNone/>
            </a:pPr>
            <a:r>
              <a:rPr lang="en-GB" b="1" i="1" dirty="0">
                <a:solidFill>
                  <a:schemeClr val="accent1"/>
                </a:solidFill>
                <a:effectLst/>
                <a:latin typeface="+mj-lt"/>
              </a:rPr>
              <a:t>Eat well for you and the planet! </a:t>
            </a:r>
          </a:p>
        </p:txBody>
      </p:sp>
    </p:spTree>
    <p:extLst>
      <p:ext uri="{BB962C8B-B14F-4D97-AF65-F5344CB8AC3E}">
        <p14:creationId xmlns:p14="http://schemas.microsoft.com/office/powerpoint/2010/main" val="41618112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itle 1">
            <a:extLst>
              <a:ext uri="{FF2B5EF4-FFF2-40B4-BE49-F238E27FC236}">
                <a16:creationId xmlns:a16="http://schemas.microsoft.com/office/drawing/2014/main" id="{893F8E98-7B4F-DE93-E084-1EBEE916E0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08892" y="703384"/>
            <a:ext cx="10433208" cy="691661"/>
          </a:xfrm>
        </p:spPr>
        <p:txBody>
          <a:bodyPr/>
          <a:lstStyle/>
          <a:p>
            <a:r>
              <a:rPr lang="en-GB" b="0" i="0">
                <a:solidFill>
                  <a:srgbClr val="263143"/>
                </a:solidFill>
                <a:effectLst/>
              </a:rPr>
              <a:t>Reduce food waste - know your portions</a:t>
            </a:r>
            <a:endParaRPr lang="en-US"/>
          </a:p>
        </p:txBody>
      </p:sp>
      <p:sp>
        <p:nvSpPr>
          <p:cNvPr id="87" name="Text Placeholder 3">
            <a:extLst>
              <a:ext uri="{FF2B5EF4-FFF2-40B4-BE49-F238E27FC236}">
                <a16:creationId xmlns:a16="http://schemas.microsoft.com/office/drawing/2014/main" id="{157E4EE1-D3EF-100C-BE7A-A3AC2B1019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8891" y="1834017"/>
            <a:ext cx="5910886" cy="4500681"/>
          </a:xfrm>
        </p:spPr>
        <p:txBody>
          <a:bodyPr>
            <a:noAutofit/>
          </a:bodyPr>
          <a:lstStyle/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 dirty="0">
                <a:latin typeface="+mj-lt"/>
              </a:rPr>
              <a:t>Aim for the right amount when you shop, cook and eat to avoid throwing food away.	</a:t>
            </a:r>
            <a:endParaRPr lang="en-GB" sz="2200" dirty="0">
              <a:latin typeface="+mj-lt"/>
            </a:endParaRP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 dirty="0">
                <a:latin typeface="+mj-lt"/>
              </a:rPr>
              <a:t>Reducing food waste is good for our pocket and the planet:</a:t>
            </a:r>
          </a:p>
          <a:p>
            <a:pPr marL="1143000" lvl="1" indent="-457200">
              <a:buClr>
                <a:schemeClr val="accent1"/>
              </a:buClr>
            </a:pPr>
            <a:r>
              <a:rPr lang="en-GB" sz="2200" b="0" i="0" u="none" strike="noStrike" dirty="0">
                <a:solidFill>
                  <a:srgbClr val="000000"/>
                </a:solidFill>
                <a:effectLst/>
                <a:latin typeface="+mj-lt"/>
              </a:rPr>
              <a:t>Food waste costs the average UK household (with children) </a:t>
            </a:r>
            <a:r>
              <a:rPr lang="en-GB" sz="2200" b="1" i="0" u="none" strike="noStrike" dirty="0">
                <a:solidFill>
                  <a:schemeClr val="accent1"/>
                </a:solidFill>
                <a:effectLst/>
                <a:latin typeface="+mj-lt"/>
              </a:rPr>
              <a:t>£60 per month.</a:t>
            </a:r>
          </a:p>
          <a:p>
            <a:pPr marL="1143000" lvl="1" indent="-457200">
              <a:buClr>
                <a:schemeClr val="accent1"/>
              </a:buClr>
            </a:pPr>
            <a:r>
              <a:rPr lang="en-GB" sz="2200" dirty="0">
                <a:latin typeface="+mj-lt"/>
              </a:rPr>
              <a:t>F</a:t>
            </a:r>
            <a:r>
              <a:rPr lang="en-GB" sz="2200" b="0" i="0" dirty="0">
                <a:effectLst/>
                <a:latin typeface="+mj-lt"/>
              </a:rPr>
              <a:t>ood waste contributes to 8-10% of greenhouse gas emissions.</a:t>
            </a:r>
            <a:endParaRPr lang="en-GB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BB047FD-C07B-8900-391E-C35A43B38B8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7754" y="2017314"/>
            <a:ext cx="3840817" cy="3237713"/>
          </a:xfrm>
          <a:prstGeom prst="rect">
            <a:avLst/>
          </a:prstGeom>
        </p:spPr>
      </p:pic>
      <p:pic>
        <p:nvPicPr>
          <p:cNvPr id="8" name="Picture 7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9372EF8A-9B01-3056-CEB7-9E45DFABC61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4" y="188004"/>
            <a:ext cx="1311711" cy="1313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8901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C6B65FA-BDF9-DB29-097E-52E32C3088BA}"/>
              </a:ext>
            </a:extLst>
          </p:cNvPr>
          <p:cNvSpPr txBox="1">
            <a:spLocks/>
          </p:cNvSpPr>
          <p:nvPr/>
        </p:nvSpPr>
        <p:spPr>
          <a:xfrm>
            <a:off x="414573" y="2221715"/>
            <a:ext cx="11254972" cy="120728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GB" dirty="0"/>
              <a:t>Do you and your family use up leftovers?</a:t>
            </a:r>
          </a:p>
        </p:txBody>
      </p:sp>
      <p:pic>
        <p:nvPicPr>
          <p:cNvPr id="4" name="Picture 3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99BC03D1-1C4F-314D-789E-2FDBB0DB803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4" y="188004"/>
            <a:ext cx="1311711" cy="1313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7352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6577B7-A5A9-778F-FA6B-41888CE663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Here are some ways to reduce food wast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907CEA-4D16-FE7C-B769-5D4836404D1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8166" y="1648017"/>
            <a:ext cx="2610507" cy="220059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CE94558-BB3F-5C96-EED1-83DEE18F2BD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8173" y="4101584"/>
            <a:ext cx="2610505" cy="2200591"/>
          </a:xfrm>
          <a:prstGeom prst="rect">
            <a:avLst/>
          </a:prstGeom>
        </p:spPr>
      </p:pic>
      <p:pic>
        <p:nvPicPr>
          <p:cNvPr id="9" name="Picture 8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D48AB176-B037-0EA6-4AF1-309F7B1A3CC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4" y="188004"/>
            <a:ext cx="1311711" cy="131393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84207D6-96AF-5804-CBB6-C63F4841307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7930" y="1648017"/>
            <a:ext cx="2610505" cy="220059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C1AB9E-055B-6208-9058-10FF11131AE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8398" y="4101583"/>
            <a:ext cx="2610507" cy="220059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94FFA9F-47E7-686F-43CF-EF2730D3EF6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7930" y="4101580"/>
            <a:ext cx="2610505" cy="22005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71E103B-4A85-30AB-7A8C-18CEEC4C5E9B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8398" y="1648017"/>
            <a:ext cx="2671200" cy="2251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793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91C189-ADE1-9245-9053-9E690E565D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4610" y="1347155"/>
            <a:ext cx="11722779" cy="1982624"/>
          </a:xfrm>
        </p:spPr>
        <p:txBody>
          <a:bodyPr>
            <a:normAutofit/>
          </a:bodyPr>
          <a:lstStyle/>
          <a:p>
            <a:r>
              <a:rPr lang="en-GB" sz="3200" b="1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We hope you enjoy Healthy Eating Week 2022!</a:t>
            </a:r>
            <a:br>
              <a:rPr lang="en-GB" sz="3200" b="1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en-GB" sz="3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1800" dirty="0">
                <a:effectLst/>
                <a:latin typeface="Segoe UI" panose="020B0502040204020203" pitchFamily="34" charset="0"/>
              </a:rPr>
              <a:t>For more information, go to: </a:t>
            </a:r>
            <a:br>
              <a:rPr lang="en-GB" sz="1800" dirty="0">
                <a:effectLst/>
                <a:latin typeface="Segoe UI" panose="020B0502040204020203" pitchFamily="34" charset="0"/>
              </a:rPr>
            </a:br>
            <a:r>
              <a:rPr lang="en-GB" sz="1800" dirty="0">
                <a:effectLst/>
                <a:latin typeface="Segoe UI" panose="020B0502040204020203" pitchFamily="34" charset="0"/>
                <a:hlinkClick r:id="rId2"/>
              </a:rPr>
              <a:t>https://www.nutrition.org.uk/healthy-eating-week/</a:t>
            </a:r>
            <a:r>
              <a:rPr lang="en-GB" sz="1800" dirty="0">
                <a:effectLst/>
                <a:latin typeface="Segoe UI" panose="020B0502040204020203" pitchFamily="34" charset="0"/>
              </a:rPr>
              <a:t> </a:t>
            </a:r>
            <a:br>
              <a:rPr lang="en-GB" sz="1800" dirty="0">
                <a:effectLst/>
                <a:latin typeface="Arial" panose="020B0604020202020204" pitchFamily="34" charset="0"/>
              </a:rPr>
            </a:br>
            <a:r>
              <a:rPr lang="en-GB" sz="1800" dirty="0">
                <a:effectLst/>
                <a:latin typeface="Arial" panose="020B0604020202020204" pitchFamily="34" charset="0"/>
              </a:rPr>
              <a:t> 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133334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7950A7-6E78-8479-19AC-E6DEADCBDD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6470" y="703384"/>
            <a:ext cx="10615600" cy="691661"/>
          </a:xfrm>
        </p:spPr>
        <p:txBody>
          <a:bodyPr>
            <a:normAutofit/>
          </a:bodyPr>
          <a:lstStyle/>
          <a:p>
            <a:r>
              <a:rPr lang="en-GB"/>
              <a:t>What is a healthier and more sustainable diet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8CC93A-77B7-9746-DCAA-805092D6A9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0484" y="1637118"/>
            <a:ext cx="6997365" cy="4522715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96545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400" dirty="0">
                <a:latin typeface="+mj-lt"/>
                <a:cs typeface="Arial"/>
              </a:rPr>
              <a:t>H</a:t>
            </a:r>
            <a:r>
              <a:rPr lang="en-GB" sz="2400" b="0" i="0" dirty="0">
                <a:effectLst/>
                <a:latin typeface="+mj-lt"/>
                <a:cs typeface="Arial"/>
              </a:rPr>
              <a:t>ealthier and more sustainable </a:t>
            </a:r>
            <a:r>
              <a:rPr lang="en-GB" sz="2400" dirty="0">
                <a:latin typeface="+mj-lt"/>
                <a:cs typeface="Arial"/>
              </a:rPr>
              <a:t>diets consider</a:t>
            </a:r>
            <a:r>
              <a:rPr lang="en-GB" sz="2400" b="0" i="0" dirty="0">
                <a:effectLst/>
                <a:latin typeface="+mj-lt"/>
                <a:cs typeface="Arial"/>
              </a:rPr>
              <a:t> and balance:</a:t>
            </a:r>
            <a:endParaRPr lang="en-US" dirty="0">
              <a:cs typeface="Arial"/>
            </a:endParaRPr>
          </a:p>
          <a:p>
            <a:pPr marL="1143000" lvl="1" indent="-457200">
              <a:buClr>
                <a:schemeClr val="accent1"/>
              </a:buClr>
              <a:buFont typeface="+mj-lt"/>
              <a:buAutoNum type="arabicPeriod"/>
            </a:pPr>
            <a:r>
              <a:rPr lang="en-GB" dirty="0">
                <a:latin typeface="+mj-lt"/>
              </a:rPr>
              <a:t>H</a:t>
            </a:r>
            <a:r>
              <a:rPr lang="en-GB" b="0" i="0" dirty="0">
                <a:effectLst/>
                <a:latin typeface="+mj-lt"/>
              </a:rPr>
              <a:t>ealth</a:t>
            </a:r>
          </a:p>
          <a:p>
            <a:pPr marL="1143000" lvl="1" indent="-457200">
              <a:buClr>
                <a:schemeClr val="accent1"/>
              </a:buClr>
              <a:buFont typeface="+mj-lt"/>
              <a:buAutoNum type="arabicPeriod"/>
            </a:pPr>
            <a:r>
              <a:rPr lang="en-GB" dirty="0">
                <a:latin typeface="+mj-lt"/>
              </a:rPr>
              <a:t>N</a:t>
            </a:r>
            <a:r>
              <a:rPr lang="en-GB" b="0" i="0" dirty="0">
                <a:effectLst/>
                <a:latin typeface="+mj-lt"/>
              </a:rPr>
              <a:t>utrition</a:t>
            </a:r>
          </a:p>
          <a:p>
            <a:pPr marL="1143000" lvl="1" indent="-457200">
              <a:buClr>
                <a:schemeClr val="accent1"/>
              </a:buClr>
              <a:buFont typeface="+mj-lt"/>
              <a:buAutoNum type="arabicPeriod"/>
            </a:pPr>
            <a:r>
              <a:rPr lang="en-GB" dirty="0">
                <a:latin typeface="+mj-lt"/>
              </a:rPr>
              <a:t>E</a:t>
            </a:r>
            <a:r>
              <a:rPr lang="en-GB" b="0" i="0" dirty="0">
                <a:effectLst/>
                <a:latin typeface="+mj-lt"/>
              </a:rPr>
              <a:t>nvironment</a:t>
            </a:r>
          </a:p>
          <a:p>
            <a:pPr marL="1143000" lvl="1" indent="-457200">
              <a:buClr>
                <a:schemeClr val="accent1"/>
              </a:buClr>
              <a:buFont typeface="+mj-lt"/>
              <a:buAutoNum type="arabicPeriod"/>
            </a:pPr>
            <a:r>
              <a:rPr lang="en-GB" dirty="0">
                <a:latin typeface="+mj-lt"/>
              </a:rPr>
              <a:t>Affordability</a:t>
            </a:r>
            <a:br>
              <a:rPr lang="en-GB" sz="1800" dirty="0">
                <a:latin typeface="+mj-lt"/>
              </a:rPr>
            </a:br>
            <a:endParaRPr lang="en-GB" sz="2400" dirty="0">
              <a:latin typeface="+mj-lt"/>
              <a:cs typeface="Helvetica" panose="020B0604020202020204" pitchFamily="34" charset="0"/>
            </a:endParaRPr>
          </a:p>
          <a:p>
            <a:pPr marL="296545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400" dirty="0">
                <a:latin typeface="+mj-lt"/>
                <a:cs typeface="Helvetica"/>
              </a:rPr>
              <a:t>There is no one-size-fits-all approach, however there are </a:t>
            </a:r>
            <a:r>
              <a:rPr lang="en-GB" sz="2400" b="1" dirty="0">
                <a:solidFill>
                  <a:schemeClr val="accent1"/>
                </a:solidFill>
                <a:latin typeface="+mj-lt"/>
                <a:cs typeface="Helvetica"/>
              </a:rPr>
              <a:t>positive changes </a:t>
            </a:r>
            <a:r>
              <a:rPr lang="en-GB" sz="2400" dirty="0">
                <a:latin typeface="+mj-lt"/>
                <a:cs typeface="Helvetica"/>
              </a:rPr>
              <a:t>you can</a:t>
            </a:r>
            <a:r>
              <a:rPr lang="en-GB" sz="2400" b="1" dirty="0">
                <a:latin typeface="+mj-lt"/>
                <a:cs typeface="Helvetica"/>
              </a:rPr>
              <a:t> </a:t>
            </a:r>
            <a:r>
              <a:rPr lang="en-GB" sz="2400" dirty="0">
                <a:latin typeface="+mj-lt"/>
                <a:cs typeface="Helvetica"/>
              </a:rPr>
              <a:t>make.</a:t>
            </a:r>
            <a:endParaRPr lang="en-GB" sz="2400" b="0" i="0" dirty="0">
              <a:effectLst/>
              <a:latin typeface="+mj-lt"/>
              <a:cs typeface="Helvetica"/>
            </a:endParaRPr>
          </a:p>
          <a:p>
            <a:pPr marL="10795"/>
            <a:endParaRPr lang="en-GB" sz="2400" dirty="0"/>
          </a:p>
        </p:txBody>
      </p:sp>
      <p:pic>
        <p:nvPicPr>
          <p:cNvPr id="10" name="Picture Placeholder 9" descr="A picture containing food, plate, bowl, fruit&#10;&#10;Description automatically generated">
            <a:extLst>
              <a:ext uri="{FF2B5EF4-FFF2-40B4-BE49-F238E27FC236}">
                <a16:creationId xmlns:a16="http://schemas.microsoft.com/office/drawing/2014/main" id="{1A5F36AF-2DC1-FD5D-8502-60ED43AFE7E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399721" y="2037823"/>
            <a:ext cx="2985086" cy="2761378"/>
          </a:xfrm>
        </p:spPr>
      </p:pic>
    </p:spTree>
    <p:extLst>
      <p:ext uri="{BB962C8B-B14F-4D97-AF65-F5344CB8AC3E}">
        <p14:creationId xmlns:p14="http://schemas.microsoft.com/office/powerpoint/2010/main" val="38235147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grass, holding, person, outdoor&#10;&#10;Description automatically generated">
            <a:extLst>
              <a:ext uri="{FF2B5EF4-FFF2-40B4-BE49-F238E27FC236}">
                <a16:creationId xmlns:a16="http://schemas.microsoft.com/office/drawing/2014/main" id="{BFB64D72-CFE7-6435-BB86-5C9EE28A6AE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479057" y="2198461"/>
            <a:ext cx="3447443" cy="318908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54248A4-099F-E616-02E9-B34DA0A2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0995" y="703383"/>
            <a:ext cx="10721105" cy="1235585"/>
          </a:xfrm>
        </p:spPr>
        <p:txBody>
          <a:bodyPr>
            <a:normAutofit/>
          </a:bodyPr>
          <a:lstStyle/>
          <a:p>
            <a:r>
              <a:rPr lang="en-GB" dirty="0"/>
              <a:t>Why are healthier and more sustainable diets important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7653F0-E0AC-EDEC-237D-CB576D5817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9219" y="2027104"/>
            <a:ext cx="6396489" cy="4127512"/>
          </a:xfrm>
        </p:spPr>
        <p:txBody>
          <a:bodyPr>
            <a:noAutofit/>
          </a:bodyPr>
          <a:lstStyle/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400" dirty="0">
                <a:latin typeface="+mj-lt"/>
                <a:cs typeface="Helvetica" panose="020B0604020202020204" pitchFamily="34" charset="0"/>
              </a:rPr>
              <a:t>The balance of foods that we eat is important for our health and the planet.</a:t>
            </a:r>
          </a:p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400" dirty="0">
                <a:latin typeface="+mj-lt"/>
                <a:cs typeface="Helvetica" panose="020B0604020202020204" pitchFamily="34" charset="0"/>
              </a:rPr>
              <a:t>So much goes into producing our food and drinks - water, energy, land, and transport!</a:t>
            </a: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400" b="0" i="0" dirty="0">
                <a:effectLst/>
                <a:latin typeface="+mj-lt"/>
              </a:rPr>
              <a:t>The global food system is responsible for:</a:t>
            </a:r>
          </a:p>
          <a:p>
            <a:pPr lvl="1">
              <a:buClr>
                <a:schemeClr val="accent1"/>
              </a:buClr>
            </a:pPr>
            <a:r>
              <a:rPr lang="en-GB" i="0" dirty="0">
                <a:effectLst/>
                <a:latin typeface="+mj-lt"/>
              </a:rPr>
              <a:t>1/5 to 1/3 of all greenhouse gases</a:t>
            </a:r>
          </a:p>
          <a:p>
            <a:pPr lvl="1">
              <a:buClr>
                <a:schemeClr val="accent1"/>
              </a:buClr>
            </a:pPr>
            <a:r>
              <a:rPr lang="en-GB" dirty="0">
                <a:latin typeface="+mj-lt"/>
              </a:rPr>
              <a:t>O</a:t>
            </a:r>
            <a:r>
              <a:rPr lang="en-GB" i="0" dirty="0">
                <a:effectLst/>
                <a:latin typeface="+mj-lt"/>
              </a:rPr>
              <a:t>ver 2/3 of global freshwater use</a:t>
            </a:r>
          </a:p>
          <a:p>
            <a:pPr lvl="1">
              <a:buClr>
                <a:schemeClr val="accent1"/>
              </a:buClr>
            </a:pPr>
            <a:r>
              <a:rPr lang="en-GB" dirty="0">
                <a:latin typeface="+mj-lt"/>
              </a:rPr>
              <a:t>O</a:t>
            </a:r>
            <a:r>
              <a:rPr lang="en-GB" i="0" dirty="0">
                <a:effectLst/>
                <a:latin typeface="+mj-lt"/>
              </a:rPr>
              <a:t>ver 1/3 of global land area.</a:t>
            </a:r>
          </a:p>
          <a:p>
            <a:endParaRPr lang="en-GB" sz="2400" dirty="0">
              <a:latin typeface="+mj-lt"/>
              <a:cs typeface="Helvetica" panose="020B0604020202020204" pitchFamily="34" charset="0"/>
            </a:endParaRPr>
          </a:p>
          <a:p>
            <a:endParaRPr lang="en-GB" sz="2400" dirty="0">
              <a:latin typeface="+mj-lt"/>
              <a:cs typeface="Helvetica" panose="020B0604020202020204" pitchFamily="34" charset="0"/>
            </a:endParaRPr>
          </a:p>
          <a:p>
            <a:endParaRPr lang="en-GB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794906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8A43920-6807-4D99-D814-7E11FEC626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Example: What goes into producing bread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4DB3661-DA96-8242-B688-35872C953E3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4969" y="1508031"/>
            <a:ext cx="2294748" cy="193441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096757F-0C43-E356-C36B-14EDD42C5DE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9347" y="1494585"/>
            <a:ext cx="2294748" cy="19344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9F8073-FDA2-2CFD-8056-45DC2AACE00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9347" y="4033826"/>
            <a:ext cx="2294748" cy="193441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E3CC9DC-AFBE-707C-27C9-4C40FD5CC4F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585" y="4033825"/>
            <a:ext cx="2294748" cy="193441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D1C3297-B925-626F-62BA-C7698E91776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4969" y="4033826"/>
            <a:ext cx="2294748" cy="193441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1D47421-75D3-1612-458D-27B496EFB216}"/>
              </a:ext>
            </a:extLst>
          </p:cNvPr>
          <p:cNvSpPr txBox="1"/>
          <p:nvPr/>
        </p:nvSpPr>
        <p:spPr>
          <a:xfrm>
            <a:off x="1096392" y="3455893"/>
            <a:ext cx="2611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/>
              <a:t>Lan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934C64-ED26-7089-068A-5D4AB1F8F203}"/>
              </a:ext>
            </a:extLst>
          </p:cNvPr>
          <p:cNvSpPr txBox="1"/>
          <p:nvPr/>
        </p:nvSpPr>
        <p:spPr>
          <a:xfrm>
            <a:off x="1218326" y="5960959"/>
            <a:ext cx="23680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/>
              <a:t>Wat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B153FD2-BA37-028C-F6C1-FF9ADCB3F68F}"/>
              </a:ext>
            </a:extLst>
          </p:cNvPr>
          <p:cNvSpPr txBox="1"/>
          <p:nvPr/>
        </p:nvSpPr>
        <p:spPr>
          <a:xfrm>
            <a:off x="5516899" y="3429000"/>
            <a:ext cx="8580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000"/>
              <a:t>Fue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D9FBAB0-B3C7-D99D-B093-2240F858E9BE}"/>
              </a:ext>
            </a:extLst>
          </p:cNvPr>
          <p:cNvSpPr txBox="1"/>
          <p:nvPr/>
        </p:nvSpPr>
        <p:spPr>
          <a:xfrm>
            <a:off x="8024943" y="3442448"/>
            <a:ext cx="23680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/>
              <a:t>Transpor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B829E3-0975-1F51-AE7E-C3FD1EE1D893}"/>
              </a:ext>
            </a:extLst>
          </p:cNvPr>
          <p:cNvSpPr txBox="1"/>
          <p:nvPr/>
        </p:nvSpPr>
        <p:spPr>
          <a:xfrm>
            <a:off x="4840213" y="5978729"/>
            <a:ext cx="19363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/>
              <a:t>Oven (Energy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64BB69-7178-9886-AB1A-23DB611A26C4}"/>
              </a:ext>
            </a:extLst>
          </p:cNvPr>
          <p:cNvSpPr txBox="1"/>
          <p:nvPr/>
        </p:nvSpPr>
        <p:spPr>
          <a:xfrm>
            <a:off x="8569000" y="5961438"/>
            <a:ext cx="12909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/>
              <a:t>Packaging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437ABF0-9C69-96B3-8C94-08E2301F879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7085" y="1494585"/>
            <a:ext cx="2294751" cy="1961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9002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91FBAF58-9E89-4E24-9E02-16DF1A407B5B}"/>
              </a:ext>
            </a:extLst>
          </p:cNvPr>
          <p:cNvSpPr txBox="1"/>
          <p:nvPr/>
        </p:nvSpPr>
        <p:spPr>
          <a:xfrm>
            <a:off x="4795285" y="1139048"/>
            <a:ext cx="6684868" cy="2416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cs typeface="Calibri" panose="020F0502020204030204" pitchFamily="34" charset="0"/>
              </a:rPr>
              <a:t>The </a:t>
            </a:r>
            <a:r>
              <a:rPr lang="en-US" sz="2100" b="1" dirty="0">
                <a:solidFill>
                  <a:srgbClr val="00B050"/>
                </a:solidFill>
                <a:cs typeface="Calibri" panose="020F0502020204030204" pitchFamily="34" charset="0"/>
              </a:rPr>
              <a:t>Eatwell Guide </a:t>
            </a:r>
            <a:r>
              <a:rPr lang="en-US" sz="2100" dirty="0">
                <a:cs typeface="Calibri" panose="020F0502020204030204" pitchFamily="34" charset="0"/>
              </a:rPr>
              <a:t>is the UK’s healthy eating mod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cs typeface="Calibri" panose="020F0502020204030204" pitchFamily="34" charset="0"/>
              </a:rPr>
              <a:t>This is a </a:t>
            </a:r>
            <a:r>
              <a:rPr lang="en-US" sz="2000" b="1" dirty="0">
                <a:solidFill>
                  <a:srgbClr val="00B050"/>
                </a:solidFill>
                <a:cs typeface="Calibri" panose="020F0502020204030204" pitchFamily="34" charset="0"/>
              </a:rPr>
              <a:t>plant-rich</a:t>
            </a:r>
            <a:r>
              <a:rPr lang="en-US" sz="2000" dirty="0">
                <a:cs typeface="Calibri" panose="020F0502020204030204" pitchFamily="34" charset="0"/>
              </a:rPr>
              <a:t> style of eating that can also include </a:t>
            </a:r>
            <a:r>
              <a:rPr lang="en-US" sz="2000" b="1" dirty="0">
                <a:solidFill>
                  <a:srgbClr val="00B050"/>
                </a:solidFill>
                <a:cs typeface="Calibri" panose="020F0502020204030204" pitchFamily="34" charset="0"/>
              </a:rPr>
              <a:t>some nutrient-rich animal-based foods </a:t>
            </a:r>
            <a:r>
              <a:rPr lang="en-US" sz="2000" dirty="0">
                <a:cs typeface="Calibri" panose="020F0502020204030204" pitchFamily="34" charset="0"/>
              </a:rPr>
              <a:t>(meat, milk, eggs, fish, and dairy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000" dirty="0"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cs typeface="Calibri" panose="020F0502020204030204" pitchFamily="34" charset="0"/>
              </a:rPr>
              <a:t>Following the Eatwell Guide more closely can have </a:t>
            </a:r>
            <a:r>
              <a:rPr lang="en-US" sz="2000" b="1" dirty="0">
                <a:solidFill>
                  <a:srgbClr val="00B050"/>
                </a:solidFill>
                <a:cs typeface="Calibri" panose="020F0502020204030204" pitchFamily="34" charset="0"/>
              </a:rPr>
              <a:t>environmental and health benefits</a:t>
            </a:r>
            <a:r>
              <a:rPr lang="en-US" sz="2000" dirty="0">
                <a:cs typeface="Calibri" panose="020F0502020204030204" pitchFamily="34" charset="0"/>
              </a:rPr>
              <a:t>: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81F7CD3-82B1-4D6E-9C43-C70C741124A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087" y="1003965"/>
            <a:ext cx="3944793" cy="281619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087F5F1-DD55-4BF4-8653-362C9C1B17A2}"/>
              </a:ext>
            </a:extLst>
          </p:cNvPr>
          <p:cNvSpPr txBox="1"/>
          <p:nvPr/>
        </p:nvSpPr>
        <p:spPr>
          <a:xfrm>
            <a:off x="5647693" y="6503865"/>
            <a:ext cx="55998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s: </a:t>
            </a:r>
            <a:r>
              <a:rPr lang="nl-NL" sz="900" dirty="0"/>
              <a:t>Scheelbeek et al. (2020) </a:t>
            </a:r>
            <a:r>
              <a:rPr lang="nl-NL" sz="900" i="1" dirty="0"/>
              <a:t>BMJ Open</a:t>
            </a:r>
            <a:r>
              <a:rPr lang="nl-NL" sz="900" b="1" i="1" dirty="0"/>
              <a:t> </a:t>
            </a:r>
            <a:r>
              <a:rPr lang="nl-NL" sz="900" b="1" dirty="0"/>
              <a:t>10</a:t>
            </a:r>
            <a:r>
              <a:rPr lang="nl-NL" sz="900" dirty="0"/>
              <a:t>:e037554; Cobiac et al. (2016) </a:t>
            </a:r>
            <a:r>
              <a:rPr lang="nl-NL" sz="900" i="1" dirty="0"/>
              <a:t>PLOS ONE </a:t>
            </a:r>
            <a:r>
              <a:rPr lang="nl-NL" sz="900" b="1" dirty="0"/>
              <a:t>11</a:t>
            </a:r>
            <a:r>
              <a:rPr lang="nl-NL" sz="900" dirty="0"/>
              <a:t>: e0167859 </a:t>
            </a:r>
            <a:endParaRPr lang="en-US" sz="900" b="1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4D4AC15-0723-4260-87D0-7073C5BF01C5}"/>
              </a:ext>
            </a:extLst>
          </p:cNvPr>
          <p:cNvSpPr txBox="1">
            <a:spLocks/>
          </p:cNvSpPr>
          <p:nvPr/>
        </p:nvSpPr>
        <p:spPr>
          <a:xfrm>
            <a:off x="277967" y="155749"/>
            <a:ext cx="11636065" cy="686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GB" sz="3600" dirty="0"/>
              <a:t>How can we eat a healthier and more sustainable diet?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416FC7E-E6AC-B58F-24FB-DCD49DC226C4}"/>
              </a:ext>
            </a:extLst>
          </p:cNvPr>
          <p:cNvSpPr/>
          <p:nvPr/>
        </p:nvSpPr>
        <p:spPr>
          <a:xfrm>
            <a:off x="3285960" y="4006030"/>
            <a:ext cx="5451712" cy="217846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07000"/>
              </a:lnSpc>
              <a:buClr>
                <a:srgbClr val="00B050"/>
              </a:buClr>
            </a:pPr>
            <a:endParaRPr lang="en-GB" sz="1400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 Box 2">
            <a:extLst>
              <a:ext uri="{FF2B5EF4-FFF2-40B4-BE49-F238E27FC236}">
                <a16:creationId xmlns:a16="http://schemas.microsoft.com/office/drawing/2014/main" id="{F161F20D-CAE7-158D-2F2D-2FC8786E23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21842" y="4052869"/>
            <a:ext cx="4303140" cy="2427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0% lower</a:t>
            </a:r>
            <a:r>
              <a:rPr lang="en-GB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greenhouse gases</a:t>
            </a:r>
            <a:endParaRPr lang="en-GB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200000"/>
              </a:lnSpc>
              <a:spcAft>
                <a:spcPts val="800"/>
              </a:spcAft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% lower</a:t>
            </a:r>
            <a:r>
              <a:rPr lang="en-GB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ater use</a:t>
            </a:r>
            <a:endParaRPr lang="en-GB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1800"/>
              </a:spcAft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duce the number of new cases of </a:t>
            </a:r>
            <a:r>
              <a:rPr lang="en-GB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ype 2 diabetes, heart disease, and stroke </a:t>
            </a: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the UK population </a:t>
            </a:r>
            <a:endParaRPr lang="en-GB" dirty="0">
              <a:effectLst/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Arrow: Down 16">
            <a:extLst>
              <a:ext uri="{FF2B5EF4-FFF2-40B4-BE49-F238E27FC236}">
                <a16:creationId xmlns:a16="http://schemas.microsoft.com/office/drawing/2014/main" id="{4367294E-AF09-5282-23D0-B47C63C31A6C}"/>
              </a:ext>
            </a:extLst>
          </p:cNvPr>
          <p:cNvSpPr/>
          <p:nvPr/>
        </p:nvSpPr>
        <p:spPr>
          <a:xfrm>
            <a:off x="3580290" y="4190319"/>
            <a:ext cx="223520" cy="3127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8" name="Arrow: Down 17">
            <a:extLst>
              <a:ext uri="{FF2B5EF4-FFF2-40B4-BE49-F238E27FC236}">
                <a16:creationId xmlns:a16="http://schemas.microsoft.com/office/drawing/2014/main" id="{B24DBCCF-8925-0ED5-8EC6-EB86B7E93717}"/>
              </a:ext>
            </a:extLst>
          </p:cNvPr>
          <p:cNvSpPr/>
          <p:nvPr/>
        </p:nvSpPr>
        <p:spPr>
          <a:xfrm>
            <a:off x="3577546" y="4791653"/>
            <a:ext cx="223520" cy="3127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9" name="Arrow: Down 18">
            <a:extLst>
              <a:ext uri="{FF2B5EF4-FFF2-40B4-BE49-F238E27FC236}">
                <a16:creationId xmlns:a16="http://schemas.microsoft.com/office/drawing/2014/main" id="{C49DEBB9-6CAE-1524-44C4-BC3495F1A9DF}"/>
              </a:ext>
            </a:extLst>
          </p:cNvPr>
          <p:cNvSpPr/>
          <p:nvPr/>
        </p:nvSpPr>
        <p:spPr>
          <a:xfrm>
            <a:off x="3580290" y="5427023"/>
            <a:ext cx="223520" cy="3127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pic>
        <p:nvPicPr>
          <p:cNvPr id="20" name="Graphic 31" descr="Earth Globe - Asia with solid fill">
            <a:extLst>
              <a:ext uri="{FF2B5EF4-FFF2-40B4-BE49-F238E27FC236}">
                <a16:creationId xmlns:a16="http://schemas.microsoft.com/office/drawing/2014/main" id="{DB00D5C6-28FF-FE4B-97F5-D1DB86E8705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044303" y="4072285"/>
            <a:ext cx="562216" cy="562216"/>
          </a:xfrm>
          <a:prstGeom prst="rect">
            <a:avLst/>
          </a:prstGeom>
        </p:spPr>
      </p:pic>
      <p:pic>
        <p:nvPicPr>
          <p:cNvPr id="21" name="Graphic 34" descr="Water with solid fill">
            <a:extLst>
              <a:ext uri="{FF2B5EF4-FFF2-40B4-BE49-F238E27FC236}">
                <a16:creationId xmlns:a16="http://schemas.microsoft.com/office/drawing/2014/main" id="{3445E5FD-12FB-D4BE-1303-415F23DD28C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8044303" y="4649890"/>
            <a:ext cx="562214" cy="596264"/>
          </a:xfrm>
          <a:prstGeom prst="rect">
            <a:avLst/>
          </a:prstGeom>
        </p:spPr>
      </p:pic>
      <p:pic>
        <p:nvPicPr>
          <p:cNvPr id="3" name="Graphic 2" descr="Heart with pulse with solid fill">
            <a:extLst>
              <a:ext uri="{FF2B5EF4-FFF2-40B4-BE49-F238E27FC236}">
                <a16:creationId xmlns:a16="http://schemas.microsoft.com/office/drawing/2014/main" id="{FDDF95E5-8E26-9A93-898C-DFE11CACE4A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13032" y="5321277"/>
            <a:ext cx="623900" cy="6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04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  <p:bldP spid="17" grpId="0" animBg="1"/>
      <p:bldP spid="18" grpId="0" animBg="1"/>
      <p:bldP spid="1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8184F75C-79B3-4B9F-828D-F51F7DD1D5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8184F75C-79B3-4B9F-828D-F51F7DD1D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TextBox 74">
            <a:extLst>
              <a:ext uri="{FF2B5EF4-FFF2-40B4-BE49-F238E27FC236}">
                <a16:creationId xmlns:a16="http://schemas.microsoft.com/office/drawing/2014/main" id="{189CDA84-C540-4530-8D97-233E46A305A0}"/>
              </a:ext>
            </a:extLst>
          </p:cNvPr>
          <p:cNvSpPr txBox="1"/>
          <p:nvPr/>
        </p:nvSpPr>
        <p:spPr>
          <a:xfrm>
            <a:off x="453416" y="2145989"/>
            <a:ext cx="18551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+mj-lt"/>
              </a:rPr>
              <a:t>Monday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C7832EA-E72D-4714-8103-B3D2FE5DC382}"/>
              </a:ext>
            </a:extLst>
          </p:cNvPr>
          <p:cNvSpPr txBox="1"/>
          <p:nvPr/>
        </p:nvSpPr>
        <p:spPr>
          <a:xfrm>
            <a:off x="2721477" y="2145989"/>
            <a:ext cx="18551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+mj-lt"/>
              </a:rPr>
              <a:t>Tuesday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11F7C59-72BA-4918-B329-F66C63D92592}"/>
              </a:ext>
            </a:extLst>
          </p:cNvPr>
          <p:cNvSpPr txBox="1"/>
          <p:nvPr/>
        </p:nvSpPr>
        <p:spPr>
          <a:xfrm>
            <a:off x="5013559" y="2145989"/>
            <a:ext cx="23394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+mj-lt"/>
              </a:rPr>
              <a:t>Wednesday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1967E9-369F-4A0C-A873-E17D21A36549}"/>
              </a:ext>
            </a:extLst>
          </p:cNvPr>
          <p:cNvSpPr txBox="1"/>
          <p:nvPr/>
        </p:nvSpPr>
        <p:spPr>
          <a:xfrm>
            <a:off x="7767434" y="2145989"/>
            <a:ext cx="19417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+mj-lt"/>
              </a:rPr>
              <a:t>Thursday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BBBC3D4-1B77-4B8D-A7C5-36FF61F08C98}"/>
              </a:ext>
            </a:extLst>
          </p:cNvPr>
          <p:cNvSpPr txBox="1"/>
          <p:nvPr/>
        </p:nvSpPr>
        <p:spPr>
          <a:xfrm>
            <a:off x="9950331" y="2145989"/>
            <a:ext cx="18551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+mj-lt"/>
              </a:rPr>
              <a:t>Friday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2984F21B-1983-4C48-BC7C-D51B162E8E44}"/>
              </a:ext>
            </a:extLst>
          </p:cNvPr>
          <p:cNvSpPr txBox="1"/>
          <p:nvPr/>
        </p:nvSpPr>
        <p:spPr>
          <a:xfrm>
            <a:off x="352932" y="5087494"/>
            <a:ext cx="2035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>
                <a:solidFill>
                  <a:schemeClr val="bg1"/>
                </a:solidFill>
              </a:rPr>
              <a:t>Focus on Fibre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B4531F3B-9B2A-480F-891F-16E1F0CEA610}"/>
              </a:ext>
            </a:extLst>
          </p:cNvPr>
          <p:cNvSpPr txBox="1"/>
          <p:nvPr/>
        </p:nvSpPr>
        <p:spPr>
          <a:xfrm>
            <a:off x="2626165" y="5079967"/>
            <a:ext cx="21699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bg1"/>
                </a:solidFill>
              </a:rPr>
              <a:t>Get at least 5 A DAY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4610F58-AB30-4BE7-A003-BDF3D1A25D36}"/>
              </a:ext>
            </a:extLst>
          </p:cNvPr>
          <p:cNvSpPr txBox="1"/>
          <p:nvPr/>
        </p:nvSpPr>
        <p:spPr>
          <a:xfrm>
            <a:off x="4955558" y="5087494"/>
            <a:ext cx="23394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>
                <a:solidFill>
                  <a:schemeClr val="bg1"/>
                </a:solidFill>
              </a:rPr>
              <a:t>Vary Your Protein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C79AB48E-DBA6-441C-A914-EBD3B92103BB}"/>
              </a:ext>
            </a:extLst>
          </p:cNvPr>
          <p:cNvSpPr txBox="1"/>
          <p:nvPr/>
        </p:nvSpPr>
        <p:spPr>
          <a:xfrm>
            <a:off x="7454459" y="5079967"/>
            <a:ext cx="23394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>
                <a:solidFill>
                  <a:schemeClr val="bg1"/>
                </a:solidFill>
              </a:rPr>
              <a:t>Stay Hydrated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117E7980-8D25-48E8-B1F8-D7595F406D7C}"/>
              </a:ext>
            </a:extLst>
          </p:cNvPr>
          <p:cNvSpPr txBox="1"/>
          <p:nvPr/>
        </p:nvSpPr>
        <p:spPr>
          <a:xfrm>
            <a:off x="9708160" y="5063465"/>
            <a:ext cx="23394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>
                <a:solidFill>
                  <a:schemeClr val="bg1"/>
                </a:solidFill>
              </a:rPr>
              <a:t>Reduce Food Waste</a:t>
            </a:r>
          </a:p>
        </p:txBody>
      </p:sp>
      <p:sp>
        <p:nvSpPr>
          <p:cNvPr id="47" name="Title 2">
            <a:extLst>
              <a:ext uri="{FF2B5EF4-FFF2-40B4-BE49-F238E27FC236}">
                <a16:creationId xmlns:a16="http://schemas.microsoft.com/office/drawing/2014/main" id="{AC0C34A3-3C83-EA41-0C2D-C00EFB0C20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2841" y="568644"/>
            <a:ext cx="10433208" cy="691661"/>
          </a:xfrm>
        </p:spPr>
        <p:txBody>
          <a:bodyPr anchor="b">
            <a:normAutofit/>
          </a:bodyPr>
          <a:lstStyle/>
          <a:p>
            <a:r>
              <a:rPr lang="en-GB" dirty="0"/>
              <a:t>Themes of the Week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5F81E81-DC92-BF51-59D1-948E22252525}"/>
              </a:ext>
            </a:extLst>
          </p:cNvPr>
          <p:cNvSpPr txBox="1"/>
          <p:nvPr/>
        </p:nvSpPr>
        <p:spPr>
          <a:xfrm>
            <a:off x="643116" y="1370996"/>
            <a:ext cx="10896858" cy="43088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2200" b="0" i="0" dirty="0">
                <a:effectLst/>
                <a:latin typeface="+mj-lt"/>
              </a:rPr>
              <a:t>Each day of the </a:t>
            </a:r>
            <a:r>
              <a:rPr lang="en-GB" sz="2200" dirty="0">
                <a:latin typeface="+mj-lt"/>
              </a:rPr>
              <a:t>Week</a:t>
            </a:r>
            <a:r>
              <a:rPr lang="en-GB" sz="2200" b="0" i="0" dirty="0">
                <a:effectLst/>
                <a:latin typeface="+mj-lt"/>
              </a:rPr>
              <a:t> focuses on a theme to help you to make positive changes. </a:t>
            </a:r>
            <a:endParaRPr lang="en-GB" sz="2200" dirty="0"/>
          </a:p>
        </p:txBody>
      </p:sp>
      <p:pic>
        <p:nvPicPr>
          <p:cNvPr id="48" name="Picture 47" descr="A picture containing chart&#10;&#10;Description automatically generated">
            <a:extLst>
              <a:ext uri="{FF2B5EF4-FFF2-40B4-BE49-F238E27FC236}">
                <a16:creationId xmlns:a16="http://schemas.microsoft.com/office/drawing/2014/main" id="{FFF8A57C-61ED-59F2-03FF-8DD9638F275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7283" y="2791911"/>
            <a:ext cx="1855118" cy="1855118"/>
          </a:xfrm>
          <a:prstGeom prst="rect">
            <a:avLst/>
          </a:prstGeom>
        </p:spPr>
      </p:pic>
      <p:pic>
        <p:nvPicPr>
          <p:cNvPr id="51" name="Picture 50" descr="Chart&#10;&#10;Description automatically generated">
            <a:extLst>
              <a:ext uri="{FF2B5EF4-FFF2-40B4-BE49-F238E27FC236}">
                <a16:creationId xmlns:a16="http://schemas.microsoft.com/office/drawing/2014/main" id="{8F15F5E8-3805-6BAB-E050-53DEC9C5DC3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96" y="2805059"/>
            <a:ext cx="1858257" cy="1855118"/>
          </a:xfrm>
          <a:prstGeom prst="rect">
            <a:avLst/>
          </a:prstGeom>
        </p:spPr>
      </p:pic>
      <p:pic>
        <p:nvPicPr>
          <p:cNvPr id="53" name="Picture 52" descr="A green and white logo&#10;&#10;Description automatically generated with low confidence">
            <a:extLst>
              <a:ext uri="{FF2B5EF4-FFF2-40B4-BE49-F238E27FC236}">
                <a16:creationId xmlns:a16="http://schemas.microsoft.com/office/drawing/2014/main" id="{7982C428-D9C9-B761-CCE1-8BD12E1189E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606" y="2799743"/>
            <a:ext cx="1855118" cy="1855118"/>
          </a:xfrm>
          <a:prstGeom prst="rect">
            <a:avLst/>
          </a:prstGeom>
        </p:spPr>
      </p:pic>
      <p:pic>
        <p:nvPicPr>
          <p:cNvPr id="55" name="Picture 54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D9BC8EF9-1139-6803-DEE6-FC6BDFAF9EF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4203" y="2799743"/>
            <a:ext cx="1858257" cy="1855118"/>
          </a:xfrm>
          <a:prstGeom prst="rect">
            <a:avLst/>
          </a:prstGeom>
        </p:spPr>
      </p:pic>
      <p:pic>
        <p:nvPicPr>
          <p:cNvPr id="57" name="Picture 56" descr="A picture containing chart&#10;&#10;Description automatically generated">
            <a:extLst>
              <a:ext uri="{FF2B5EF4-FFF2-40B4-BE49-F238E27FC236}">
                <a16:creationId xmlns:a16="http://schemas.microsoft.com/office/drawing/2014/main" id="{AA11E5EC-D159-6AB5-B59A-F2BAD76D612B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0314" y="2799743"/>
            <a:ext cx="1858257" cy="1855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111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1B2C69-E252-130B-800C-208DC79BCE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Focus on fibre – for meals and snacks</a:t>
            </a:r>
          </a:p>
        </p:txBody>
      </p:sp>
      <p:pic>
        <p:nvPicPr>
          <p:cNvPr id="6" name="Picture Placeholder 5" descr="A picture containing meal, variety&#10;&#10;Description automatically generated">
            <a:extLst>
              <a:ext uri="{FF2B5EF4-FFF2-40B4-BE49-F238E27FC236}">
                <a16:creationId xmlns:a16="http://schemas.microsoft.com/office/drawing/2014/main" id="{F40A1077-B615-89BD-47A9-63D4846F2E3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32154" y="2050126"/>
            <a:ext cx="4180286" cy="3471448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3FEDFB-19CC-742C-C8FE-D12018D4F9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8892" y="1712832"/>
            <a:ext cx="5371571" cy="4676952"/>
          </a:xfrm>
        </p:spPr>
        <p:txBody>
          <a:bodyPr>
            <a:noAutofit/>
          </a:bodyPr>
          <a:lstStyle/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 dirty="0">
                <a:solidFill>
                  <a:srgbClr val="000000"/>
                </a:solidFill>
                <a:latin typeface="+mj-lt"/>
              </a:rPr>
              <a:t>Have more wholegrain foods, fruit and vegetables, beans, peas and lentils.</a:t>
            </a:r>
            <a:endParaRPr lang="en-GB" sz="2200" dirty="0">
              <a:solidFill>
                <a:srgbClr val="000000"/>
              </a:solidFill>
              <a:latin typeface="+mj-lt"/>
            </a:endParaRPr>
          </a:p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 dirty="0">
                <a:latin typeface="+mj-lt"/>
              </a:rPr>
              <a:t>Eating plenty of fibre is associated with a lower risk of heart disease, stroke, type 2 diabetes and bowel cancer. </a:t>
            </a:r>
          </a:p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dirty="0">
                <a:latin typeface="+mj-lt"/>
              </a:rPr>
              <a:t>A </a:t>
            </a:r>
            <a:r>
              <a:rPr lang="en-GB" sz="2200" b="0" i="0" u="none" strike="noStrike" baseline="0" dirty="0">
                <a:latin typeface="+mj-lt"/>
              </a:rPr>
              <a:t>plant-rich diet* can help us to increase fibre intake and also helps reduce the environmental impact of what we eat.</a:t>
            </a:r>
            <a:endParaRPr lang="en-GB" sz="2000" b="0" i="0" u="none" strike="noStrike" baseline="0" dirty="0">
              <a:latin typeface="+mj-lt"/>
            </a:endParaRPr>
          </a:p>
          <a:p>
            <a:pPr>
              <a:buClr>
                <a:schemeClr val="accent1"/>
              </a:buClr>
            </a:pPr>
            <a:r>
              <a:rPr lang="en-GB" sz="1500" dirty="0">
                <a:latin typeface="+mj-lt"/>
              </a:rPr>
              <a:t>* </a:t>
            </a:r>
            <a:r>
              <a:rPr lang="en-GB" sz="1600" dirty="0">
                <a:latin typeface="+mj-lt"/>
              </a:rPr>
              <a:t>A plant-rich diet </a:t>
            </a:r>
            <a:r>
              <a:rPr lang="en-GB" sz="1600" b="0" dirty="0">
                <a:effectLst/>
                <a:latin typeface="+mj-lt"/>
              </a:rPr>
              <a:t>can also include </a:t>
            </a:r>
            <a:r>
              <a:rPr lang="en-GB" sz="1600" dirty="0">
                <a:effectLst/>
                <a:latin typeface="+mj-lt"/>
              </a:rPr>
              <a:t>animal based foods such as </a:t>
            </a:r>
            <a:r>
              <a:rPr lang="en-GB" sz="1600" b="0" dirty="0">
                <a:effectLst/>
                <a:latin typeface="+mj-lt"/>
              </a:rPr>
              <a:t>some meat, dairy, fish and eggs</a:t>
            </a:r>
            <a:r>
              <a:rPr lang="en-GB" sz="1600" dirty="0">
                <a:effectLst/>
                <a:latin typeface="+mj-lt"/>
              </a:rPr>
              <a:t>. </a:t>
            </a:r>
            <a:endParaRPr lang="en-GB" sz="1300" dirty="0">
              <a:latin typeface="+mj-lt"/>
            </a:endParaRPr>
          </a:p>
        </p:txBody>
      </p:sp>
      <p:pic>
        <p:nvPicPr>
          <p:cNvPr id="5" name="Picture 4" descr="Chart&#10;&#10;Description automatically generated with medium confidence">
            <a:extLst>
              <a:ext uri="{FF2B5EF4-FFF2-40B4-BE49-F238E27FC236}">
                <a16:creationId xmlns:a16="http://schemas.microsoft.com/office/drawing/2014/main" id="{DDA72EAC-E7BC-90FC-6DCD-006C4384AE6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2805" y="195380"/>
            <a:ext cx="1346742" cy="134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4559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38C136-3BE1-2457-C3D7-0F740906CC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7450" y="2139690"/>
            <a:ext cx="10884269" cy="1207285"/>
          </a:xfrm>
        </p:spPr>
        <p:txBody>
          <a:bodyPr>
            <a:normAutofit/>
          </a:bodyPr>
          <a:lstStyle/>
          <a:p>
            <a:pPr algn="ctr"/>
            <a:r>
              <a:rPr lang="en-GB" dirty="0"/>
              <a:t>What wholegrain foods do you eat?</a:t>
            </a:r>
          </a:p>
        </p:txBody>
      </p:sp>
      <p:pic>
        <p:nvPicPr>
          <p:cNvPr id="3" name="Picture 2" descr="Chart&#10;&#10;Description automatically generated with medium confidence">
            <a:extLst>
              <a:ext uri="{FF2B5EF4-FFF2-40B4-BE49-F238E27FC236}">
                <a16:creationId xmlns:a16="http://schemas.microsoft.com/office/drawing/2014/main" id="{E04C9519-EDCE-9E9E-FB7E-9ABDA6F80A3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2805" y="195380"/>
            <a:ext cx="1346742" cy="134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612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NF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53B058"/>
      </a:accent1>
      <a:accent2>
        <a:srgbClr val="E53812"/>
      </a:accent2>
      <a:accent3>
        <a:srgbClr val="FDC92F"/>
      </a:accent3>
      <a:accent4>
        <a:srgbClr val="DB7850"/>
      </a:accent4>
      <a:accent5>
        <a:srgbClr val="226E9D"/>
      </a:accent5>
      <a:accent6>
        <a:srgbClr val="EC696D"/>
      </a:accent6>
      <a:hlink>
        <a:srgbClr val="0563C1"/>
      </a:hlink>
      <a:folHlink>
        <a:srgbClr val="EB673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NF-PPT-Core_Final" id="{AD3BEF57-7A73-47C5-B7D9-06433EB0FEA4}" vid="{F059A07C-06E5-44E5-B6A2-3BA7FD668FE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5B78CA333243439763E4169A5FEB7F" ma:contentTypeVersion="17" ma:contentTypeDescription="Create a new document." ma:contentTypeScope="" ma:versionID="f2c597ebce0aa0fd5759700e14dd3adc">
  <xsd:schema xmlns:xsd="http://www.w3.org/2001/XMLSchema" xmlns:xs="http://www.w3.org/2001/XMLSchema" xmlns:p="http://schemas.microsoft.com/office/2006/metadata/properties" xmlns:ns2="c53071f4-7f44-43fd-895c-8e7b6a3746b0" xmlns:ns3="ead97cfe-a968-427f-b02b-893e6ba0355a" targetNamespace="http://schemas.microsoft.com/office/2006/metadata/properties" ma:root="true" ma:fieldsID="27039d98634059a90188b6cb8bc5e987" ns2:_="" ns3:_="">
    <xsd:import namespace="c53071f4-7f44-43fd-895c-8e7b6a3746b0"/>
    <xsd:import namespace="ead97cfe-a968-427f-b02b-893e6ba035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_Flow_SignoffStatu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3071f4-7f44-43fd-895c-8e7b6a374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_Flow_SignoffStatus" ma:index="21" nillable="true" ma:displayName="Sign-off status" ma:internalName="Sign_x002d_off_x0020_status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a407c16c-d400-4155-af4b-d0582c07d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97cfe-a968-427f-b02b-893e6ba0355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7b8b45f8-435e-402c-b129-c8853cba6318}" ma:internalName="TaxCatchAll" ma:showField="CatchAllData" ma:web="ead97cfe-a968-427f-b02b-893e6ba0355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c53071f4-7f44-43fd-895c-8e7b6a3746b0" xsi:nil="true"/>
    <TaxCatchAll xmlns="ead97cfe-a968-427f-b02b-893e6ba0355a" xsi:nil="true"/>
    <lcf76f155ced4ddcb4097134ff3c332f xmlns="c53071f4-7f44-43fd-895c-8e7b6a3746b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C73DF7B-E02E-4D4B-96F5-36ECDE90AC46}">
  <ds:schemaRefs>
    <ds:schemaRef ds:uri="c53071f4-7f44-43fd-895c-8e7b6a3746b0"/>
    <ds:schemaRef ds:uri="ead97cfe-a968-427f-b02b-893e6ba0355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93F1269-12CB-4DC7-B489-454ED5B9820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72607A0-CB04-499A-863B-3B807C1C2487}">
  <ds:schemaRefs>
    <ds:schemaRef ds:uri="c53071f4-7f44-43fd-895c-8e7b6a3746b0"/>
    <ds:schemaRef ds:uri="ead97cfe-a968-427f-b02b-893e6ba0355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NF-PPT-Core_Final</Template>
  <TotalTime>2</TotalTime>
  <Words>1039</Words>
  <Application>Microsoft Office PowerPoint</Application>
  <PresentationFormat>Widescreen</PresentationFormat>
  <Paragraphs>135</Paragraphs>
  <Slides>2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Calibri</vt:lpstr>
      <vt:lpstr>Georgia</vt:lpstr>
      <vt:lpstr>Helvetica</vt:lpstr>
      <vt:lpstr>Segoe UI</vt:lpstr>
      <vt:lpstr>Office Theme</vt:lpstr>
      <vt:lpstr>think-cell Slide</vt:lpstr>
      <vt:lpstr>Healthy Eating Week 2022</vt:lpstr>
      <vt:lpstr>What’s it all about?</vt:lpstr>
      <vt:lpstr>What is a healthier and more sustainable diet?</vt:lpstr>
      <vt:lpstr>Why are healthier and more sustainable diets important?</vt:lpstr>
      <vt:lpstr>Example: What goes into producing bread?</vt:lpstr>
      <vt:lpstr>PowerPoint Presentation</vt:lpstr>
      <vt:lpstr>Themes of the Week</vt:lpstr>
      <vt:lpstr>Focus on fibre – for meals and snacks</vt:lpstr>
      <vt:lpstr>What wholegrain foods do you eat?</vt:lpstr>
      <vt:lpstr>Here are some examples of wholegrain foods</vt:lpstr>
      <vt:lpstr>Get at least 5 A DAY - put plenty on your plate</vt:lpstr>
      <vt:lpstr>PowerPoint Presentation</vt:lpstr>
      <vt:lpstr>Here are some examples of fruit and veg</vt:lpstr>
      <vt:lpstr>Vary your protein - be more creative</vt:lpstr>
      <vt:lpstr>PowerPoint Presentation</vt:lpstr>
      <vt:lpstr>Here are some examples of plant protein</vt:lpstr>
      <vt:lpstr>Stay hydrated - fill up from the tap</vt:lpstr>
      <vt:lpstr>PowerPoint Presentation</vt:lpstr>
      <vt:lpstr>Here are some examples of drinks</vt:lpstr>
      <vt:lpstr>Reduce food waste - know your portions</vt:lpstr>
      <vt:lpstr>PowerPoint Presentation</vt:lpstr>
      <vt:lpstr>Here are some ways to reduce food waste</vt:lpstr>
      <vt:lpstr>We hope you enjoy Healthy Eating Week 2022!  For more information, go to:  https://www.nutrition.org.uk/healthy-eating-week/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phie Yelland</dc:creator>
  <cp:lastModifiedBy>Sarah Coe</cp:lastModifiedBy>
  <cp:revision>3</cp:revision>
  <dcterms:created xsi:type="dcterms:W3CDTF">2022-05-05T16:33:46Z</dcterms:created>
  <dcterms:modified xsi:type="dcterms:W3CDTF">2022-06-10T12:5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5B78CA333243439763E4169A5FEB7F</vt:lpwstr>
  </property>
  <property fmtid="{D5CDD505-2E9C-101B-9397-08002B2CF9AE}" pid="3" name="MediaServiceImageTags">
    <vt:lpwstr/>
  </property>
</Properties>
</file>